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webextensions/webextension4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346" r:id="rId5"/>
    <p:sldId id="424" r:id="rId6"/>
    <p:sldId id="425" r:id="rId7"/>
    <p:sldId id="426" r:id="rId8"/>
    <p:sldId id="442" r:id="rId9"/>
    <p:sldId id="444" r:id="rId10"/>
    <p:sldId id="427" r:id="rId11"/>
    <p:sldId id="429" r:id="rId12"/>
    <p:sldId id="445" r:id="rId13"/>
    <p:sldId id="448" r:id="rId14"/>
    <p:sldId id="446" r:id="rId15"/>
    <p:sldId id="432" r:id="rId16"/>
  </p:sldIdLst>
  <p:sldSz cx="12192000" cy="6858000"/>
  <p:notesSz cx="6858000" cy="9144000"/>
  <p:custDataLst>
    <p:tags r:id="rId1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87FF98-59ED-6D00-85D7-97CA8DE68A04}" name="Kamp, Birgit" initials="KB" userId="S::b.kamp@caldic.nl::fabdecad-45d8-4dd6-a82b-df17681f8ad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lle de Korte" initials="JdK" lastIdx="1" clrIdx="0">
    <p:extLst>
      <p:ext uri="{19B8F6BF-5375-455C-9EA6-DF929625EA0E}">
        <p15:presenceInfo xmlns:p15="http://schemas.microsoft.com/office/powerpoint/2012/main" userId="S-1-5-21-2890558824-3927818043-3374662254-1152" providerId="AD"/>
      </p:ext>
    </p:extLst>
  </p:cmAuthor>
  <p:cmAuthor id="2" name="Rodney Assenberg" initials="RA" lastIdx="32" clrIdx="1">
    <p:extLst>
      <p:ext uri="{19B8F6BF-5375-455C-9EA6-DF929625EA0E}">
        <p15:presenceInfo xmlns:p15="http://schemas.microsoft.com/office/powerpoint/2012/main" userId="S::rodney@pptsolutions.nl::eb9218f5-9d3d-4dde-8c59-99b1c1139f6f" providerId="AD"/>
      </p:ext>
    </p:extLst>
  </p:cmAuthor>
  <p:cmAuthor id="3" name="Naomi Bommezijn" initials="NB" lastIdx="73" clrIdx="2">
    <p:extLst>
      <p:ext uri="{19B8F6BF-5375-455C-9EA6-DF929625EA0E}">
        <p15:presenceInfo xmlns:p15="http://schemas.microsoft.com/office/powerpoint/2012/main" userId="S::naomi@pptcompany.com::32f2c752-ca12-4070-92af-d3636073028f" providerId="AD"/>
      </p:ext>
    </p:extLst>
  </p:cmAuthor>
  <p:cmAuthor id="4" name="Dorleijn, Babette" initials="DB" lastIdx="66" clrIdx="3">
    <p:extLst>
      <p:ext uri="{19B8F6BF-5375-455C-9EA6-DF929625EA0E}">
        <p15:presenceInfo xmlns:p15="http://schemas.microsoft.com/office/powerpoint/2012/main" userId="S-1-5-21-3109211571-2954484606-2289818929-3200" providerId="AD"/>
      </p:ext>
    </p:extLst>
  </p:cmAuthor>
  <p:cmAuthor id="5" name="Michael Wolf Visser" initials="MWV" lastIdx="50" clrIdx="4">
    <p:extLst>
      <p:ext uri="{19B8F6BF-5375-455C-9EA6-DF929625EA0E}">
        <p15:presenceInfo xmlns:p15="http://schemas.microsoft.com/office/powerpoint/2012/main" userId="Michael Wolf Vis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C8"/>
    <a:srgbClr val="E3F0EB"/>
    <a:srgbClr val="E6ECEF"/>
    <a:srgbClr val="A6A6A6"/>
    <a:srgbClr val="AA9D8F"/>
    <a:srgbClr val="4D4D4D"/>
    <a:srgbClr val="E8E8EA"/>
    <a:srgbClr val="E8E9E9"/>
    <a:srgbClr val="FF500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C5286C-CF3C-45D6-A2B7-D16CCFA2A2A4}" v="3" dt="2024-08-09T11:59:59.1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686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ddhesh Kudalkar" userId="e71ab7ec-6610-4515-9e05-52121577fe59" providerId="ADAL" clId="{4CC5286C-CF3C-45D6-A2B7-D16CCFA2A2A4}"/>
    <pc:docChg chg="undo redo custSel addSld delSld modSld">
      <pc:chgData name="Siddhesh Kudalkar" userId="e71ab7ec-6610-4515-9e05-52121577fe59" providerId="ADAL" clId="{4CC5286C-CF3C-45D6-A2B7-D16CCFA2A2A4}" dt="2024-08-09T11:57:17.453" v="390" actId="20577"/>
      <pc:docMkLst>
        <pc:docMk/>
      </pc:docMkLst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480301928" sldId="25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676076801" sldId="26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552986756" sldId="26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522686192" sldId="32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205271384" sldId="34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674652909" sldId="34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317563345" sldId="35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210502675" sldId="35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514729833" sldId="355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883590531" sldId="356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481254903" sldId="35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4007300661" sldId="35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650530129" sldId="35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343044570" sldId="36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063283941" sldId="36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997743332" sldId="36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932315271" sldId="364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4166368428" sldId="36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4172868684" sldId="36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712309520" sldId="37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542403533" sldId="37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174761949" sldId="37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131458758" sldId="37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373880444" sldId="374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295386556" sldId="375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878934773" sldId="376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36706774" sldId="37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208460171" sldId="37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870435047" sldId="37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6780767" sldId="38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414708836" sldId="38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26371982" sldId="38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991362734" sldId="385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331262900" sldId="386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621686651" sldId="38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42042807" sldId="38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483524230" sldId="38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616256972" sldId="39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232043770" sldId="39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277614263" sldId="39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659365555" sldId="39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844768245" sldId="394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482950942" sldId="395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721170895" sldId="396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661973509" sldId="39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213554894" sldId="39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270465816" sldId="39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253087583" sldId="40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4279654690" sldId="40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566301157" sldId="40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738380771" sldId="40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138881922" sldId="404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133858983" sldId="406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257350141" sldId="40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4050142902" sldId="40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50511361" sldId="40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889975895" sldId="41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402115135" sldId="41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620087454" sldId="41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240312917" sldId="414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158743428" sldId="415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470924906" sldId="416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734107678" sldId="41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999713660" sldId="41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138435227" sldId="41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125283751" sldId="42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502377114" sldId="42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386289841" sldId="422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961154963" sldId="423"/>
        </pc:sldMkLst>
      </pc:sldChg>
      <pc:sldChg chg="modSp mod">
        <pc:chgData name="Siddhesh Kudalkar" userId="e71ab7ec-6610-4515-9e05-52121577fe59" providerId="ADAL" clId="{4CC5286C-CF3C-45D6-A2B7-D16CCFA2A2A4}" dt="2024-08-09T11:44:36.584" v="76" actId="14100"/>
        <pc:sldMkLst>
          <pc:docMk/>
          <pc:sldMk cId="833578957" sldId="427"/>
        </pc:sldMkLst>
        <pc:spChg chg="mod">
          <ac:chgData name="Siddhesh Kudalkar" userId="e71ab7ec-6610-4515-9e05-52121577fe59" providerId="ADAL" clId="{4CC5286C-CF3C-45D6-A2B7-D16CCFA2A2A4}" dt="2024-08-09T11:42:20.034" v="21" actId="14100"/>
          <ac:spMkLst>
            <pc:docMk/>
            <pc:sldMk cId="833578957" sldId="427"/>
            <ac:spMk id="11" creationId="{F526FC0E-CCE9-21BE-5F43-E459D1AACAE5}"/>
          </ac:spMkLst>
        </pc:spChg>
        <pc:spChg chg="mod">
          <ac:chgData name="Siddhesh Kudalkar" userId="e71ab7ec-6610-4515-9e05-52121577fe59" providerId="ADAL" clId="{4CC5286C-CF3C-45D6-A2B7-D16CCFA2A2A4}" dt="2024-08-09T11:44:36.584" v="76" actId="14100"/>
          <ac:spMkLst>
            <pc:docMk/>
            <pc:sldMk cId="833578957" sldId="427"/>
            <ac:spMk id="12" creationId="{EF9E75C4-1EA9-0EAB-565B-2F5986E8628D}"/>
          </ac:spMkLst>
        </pc:spChg>
        <pc:spChg chg="mod">
          <ac:chgData name="Siddhesh Kudalkar" userId="e71ab7ec-6610-4515-9e05-52121577fe59" providerId="ADAL" clId="{4CC5286C-CF3C-45D6-A2B7-D16CCFA2A2A4}" dt="2024-08-09T11:42:37.763" v="23" actId="20577"/>
          <ac:spMkLst>
            <pc:docMk/>
            <pc:sldMk cId="833578957" sldId="427"/>
            <ac:spMk id="13" creationId="{B2E8806B-0F0D-CE54-4882-B09A875EBE02}"/>
          </ac:spMkLst>
        </pc:spChg>
        <pc:spChg chg="mod">
          <ac:chgData name="Siddhesh Kudalkar" userId="e71ab7ec-6610-4515-9e05-52121577fe59" providerId="ADAL" clId="{4CC5286C-CF3C-45D6-A2B7-D16CCFA2A2A4}" dt="2024-08-09T11:43:16.626" v="60" actId="20577"/>
          <ac:spMkLst>
            <pc:docMk/>
            <pc:sldMk cId="833578957" sldId="427"/>
            <ac:spMk id="14" creationId="{C28A5389-4FB2-3AB1-418B-87CF5E06C2D5}"/>
          </ac:spMkLst>
        </pc:spChg>
        <pc:spChg chg="mod">
          <ac:chgData name="Siddhesh Kudalkar" userId="e71ab7ec-6610-4515-9e05-52121577fe59" providerId="ADAL" clId="{4CC5286C-CF3C-45D6-A2B7-D16CCFA2A2A4}" dt="2024-08-09T11:43:56.188" v="71" actId="20577"/>
          <ac:spMkLst>
            <pc:docMk/>
            <pc:sldMk cId="833578957" sldId="427"/>
            <ac:spMk id="15" creationId="{D2718F15-D8FA-2358-E3B0-70772E6B5703}"/>
          </ac:spMkLst>
        </pc:spChg>
        <pc:spChg chg="mod">
          <ac:chgData name="Siddhesh Kudalkar" userId="e71ab7ec-6610-4515-9e05-52121577fe59" providerId="ADAL" clId="{4CC5286C-CF3C-45D6-A2B7-D16CCFA2A2A4}" dt="2024-08-09T11:44:13.537" v="73" actId="20577"/>
          <ac:spMkLst>
            <pc:docMk/>
            <pc:sldMk cId="833578957" sldId="427"/>
            <ac:spMk id="16" creationId="{BA445435-C44A-4150-439A-C487E2C90E1E}"/>
          </ac:spMkLst>
        </pc:spChg>
      </pc:sldChg>
      <pc:sldChg chg="del">
        <pc:chgData name="Siddhesh Kudalkar" userId="e71ab7ec-6610-4515-9e05-52121577fe59" providerId="ADAL" clId="{4CC5286C-CF3C-45D6-A2B7-D16CCFA2A2A4}" dt="2024-08-09T11:44:51.108" v="77" actId="47"/>
        <pc:sldMkLst>
          <pc:docMk/>
          <pc:sldMk cId="338256414" sldId="428"/>
        </pc:sldMkLst>
      </pc:sldChg>
      <pc:sldChg chg="addSp delSp modSp mod">
        <pc:chgData name="Siddhesh Kudalkar" userId="e71ab7ec-6610-4515-9e05-52121577fe59" providerId="ADAL" clId="{4CC5286C-CF3C-45D6-A2B7-D16CCFA2A2A4}" dt="2024-08-09T11:49:22.866" v="273" actId="1035"/>
        <pc:sldMkLst>
          <pc:docMk/>
          <pc:sldMk cId="4193973518" sldId="429"/>
        </pc:sldMkLst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3" creationId="{283444EE-B9AA-112B-2F20-AC2B433CF61A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4" creationId="{B4B83A37-C391-F956-988B-1C24BCDDF354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5" creationId="{E4BE4011-C1A5-40F2-0659-2ADE38B214AF}"/>
          </ac:spMkLst>
        </pc:spChg>
        <pc:spChg chg="mod">
          <ac:chgData name="Siddhesh Kudalkar" userId="e71ab7ec-6610-4515-9e05-52121577fe59" providerId="ADAL" clId="{4CC5286C-CF3C-45D6-A2B7-D16CCFA2A2A4}" dt="2024-08-09T11:46:54.910" v="162" actId="1035"/>
          <ac:spMkLst>
            <pc:docMk/>
            <pc:sldMk cId="4193973518" sldId="429"/>
            <ac:spMk id="6" creationId="{DE1EFF11-B03B-B031-EC5A-D7296BEC6C99}"/>
          </ac:spMkLst>
        </pc:spChg>
        <pc:spChg chg="del">
          <ac:chgData name="Siddhesh Kudalkar" userId="e71ab7ec-6610-4515-9e05-52121577fe59" providerId="ADAL" clId="{4CC5286C-CF3C-45D6-A2B7-D16CCFA2A2A4}" dt="2024-08-09T11:45:17.183" v="85" actId="478"/>
          <ac:spMkLst>
            <pc:docMk/>
            <pc:sldMk cId="4193973518" sldId="429"/>
            <ac:spMk id="7" creationId="{EB1FAF45-D091-15CB-A0C0-8C0F452B43D5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8" creationId="{9CAEF9B0-FF39-B2DD-1DB4-57AD97CF11C4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9" creationId="{F81C5E20-0771-F103-612C-0C022B29F890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0" creationId="{B6238D65-BA56-7382-504D-59AE4A470DD9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1" creationId="{0E309AA6-18A2-1C80-E229-51BF819023AA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2" creationId="{10A20408-D387-3AC7-8F4B-617EADA9C952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3" creationId="{4ACD4FE4-704F-9AA1-17F3-2DEAB76D6669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4" creationId="{54B55D78-0E56-1537-BDCA-697F753C5730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5" creationId="{ED62AD44-5013-38ED-AA6B-38955BCF973F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6" creationId="{F9F9A7FB-62E4-3ACA-3668-AEF397DA4B73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7" creationId="{ADACEC5A-EC6F-A35A-5C38-CE4478FD5245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8" creationId="{C02A57A4-C24E-DE81-D38D-0A3CD1AB0EC6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19" creationId="{C0D01A87-3D7F-9BA1-8235-9196EA221CA0}"/>
          </ac:spMkLst>
        </pc:spChg>
        <pc:spChg chg="add mod">
          <ac:chgData name="Siddhesh Kudalkar" userId="e71ab7ec-6610-4515-9e05-52121577fe59" providerId="ADAL" clId="{4CC5286C-CF3C-45D6-A2B7-D16CCFA2A2A4}" dt="2024-08-09T11:49:22.866" v="273" actId="1035"/>
          <ac:spMkLst>
            <pc:docMk/>
            <pc:sldMk cId="4193973518" sldId="429"/>
            <ac:spMk id="20" creationId="{CC5A7421-D17B-1202-FDA9-02DE2B29372D}"/>
          </ac:spMkLst>
        </pc:spChg>
        <pc:picChg chg="add del mod">
          <ac:chgData name="Siddhesh Kudalkar" userId="e71ab7ec-6610-4515-9e05-52121577fe59" providerId="ADAL" clId="{4CC5286C-CF3C-45D6-A2B7-D16CCFA2A2A4}" dt="2024-08-09T11:49:22.866" v="273" actId="1035"/>
          <ac:picMkLst>
            <pc:docMk/>
            <pc:sldMk cId="4193973518" sldId="429"/>
            <ac:picMk id="2" creationId="{564F13A2-24E2-05B3-CC51-821613C6E97F}"/>
          </ac:picMkLst>
        </pc:picChg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420413298" sldId="43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914977847" sldId="433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236979551" sldId="434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225829482" sldId="435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031377333" sldId="436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485719423" sldId="437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338715058" sldId="438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187224291" sldId="439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610357280" sldId="440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3682776440" sldId="441"/>
        </pc:sldMkLst>
      </pc:sldChg>
      <pc:sldChg chg="del">
        <pc:chgData name="Siddhesh Kudalkar" userId="e71ab7ec-6610-4515-9e05-52121577fe59" providerId="ADAL" clId="{4CC5286C-CF3C-45D6-A2B7-D16CCFA2A2A4}" dt="2024-08-09T11:56:18.357" v="353" actId="2696"/>
        <pc:sldMkLst>
          <pc:docMk/>
          <pc:sldMk cId="270504365" sldId="443"/>
        </pc:sldMkLst>
      </pc:sldChg>
      <pc:sldChg chg="addSp delSp modSp new mod">
        <pc:chgData name="Siddhesh Kudalkar" userId="e71ab7ec-6610-4515-9e05-52121577fe59" providerId="ADAL" clId="{4CC5286C-CF3C-45D6-A2B7-D16CCFA2A2A4}" dt="2024-08-09T11:57:17.453" v="390" actId="20577"/>
        <pc:sldMkLst>
          <pc:docMk/>
          <pc:sldMk cId="3198980089" sldId="445"/>
        </pc:sldMkLst>
        <pc:spChg chg="del">
          <ac:chgData name="Siddhesh Kudalkar" userId="e71ab7ec-6610-4515-9e05-52121577fe59" providerId="ADAL" clId="{4CC5286C-CF3C-45D6-A2B7-D16CCFA2A2A4}" dt="2024-08-09T11:49:48.635" v="281" actId="478"/>
          <ac:spMkLst>
            <pc:docMk/>
            <pc:sldMk cId="3198980089" sldId="445"/>
            <ac:spMk id="2" creationId="{ABCE3ED1-7DF9-CC1B-FAB6-1972D36ABDE7}"/>
          </ac:spMkLst>
        </pc:spChg>
        <pc:spChg chg="mod">
          <ac:chgData name="Siddhesh Kudalkar" userId="e71ab7ec-6610-4515-9e05-52121577fe59" providerId="ADAL" clId="{4CC5286C-CF3C-45D6-A2B7-D16CCFA2A2A4}" dt="2024-08-09T11:49:45.081" v="280" actId="20577"/>
          <ac:spMkLst>
            <pc:docMk/>
            <pc:sldMk cId="3198980089" sldId="445"/>
            <ac:spMk id="3" creationId="{A16B3D5D-B478-CBBF-BBCD-7BFC75A60EA4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5" creationId="{F1D44A5C-F51D-F596-8B20-CDF597056158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6" creationId="{FA00EC0B-27C9-7CDD-4D7B-FCC20DDB210A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7" creationId="{E18455AC-8FD0-AC27-7881-3E30FE2010D2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8" creationId="{BC3F20B2-73B3-B676-1777-FA3E8DBA80D2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9" creationId="{3F8C7956-855D-783C-67B7-1FD2D115C42A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10" creationId="{885EB90D-5512-0375-59D3-73F93D2330B8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11" creationId="{30E67015-8168-1F1D-7F20-39EE2D016D58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12" creationId="{86EEE9CD-219F-9F30-70BC-82D680A4081C}"/>
          </ac:spMkLst>
        </pc:spChg>
        <pc:spChg chg="add mod">
          <ac:chgData name="Siddhesh Kudalkar" userId="e71ab7ec-6610-4515-9e05-52121577fe59" providerId="ADAL" clId="{4CC5286C-CF3C-45D6-A2B7-D16CCFA2A2A4}" dt="2024-08-09T11:57:17.453" v="390" actId="20577"/>
          <ac:spMkLst>
            <pc:docMk/>
            <pc:sldMk cId="3198980089" sldId="445"/>
            <ac:spMk id="13" creationId="{FA89DAE9-8CA8-94B5-D811-23D532ACCEE1}"/>
          </ac:spMkLst>
        </pc:spChg>
        <pc:spChg chg="add mod">
          <ac:chgData name="Siddhesh Kudalkar" userId="e71ab7ec-6610-4515-9e05-52121577fe59" providerId="ADAL" clId="{4CC5286C-CF3C-45D6-A2B7-D16CCFA2A2A4}" dt="2024-08-09T11:55:07.545" v="352" actId="20577"/>
          <ac:spMkLst>
            <pc:docMk/>
            <pc:sldMk cId="3198980089" sldId="445"/>
            <ac:spMk id="14" creationId="{F5EA1812-8DAE-230E-050E-8ED59E84B304}"/>
          </ac:spMkLst>
        </pc:spChg>
        <pc:spChg chg="add mod">
          <ac:chgData name="Siddhesh Kudalkar" userId="e71ab7ec-6610-4515-9e05-52121577fe59" providerId="ADAL" clId="{4CC5286C-CF3C-45D6-A2B7-D16CCFA2A2A4}" dt="2024-08-09T11:54:27.411" v="302" actId="1038"/>
          <ac:spMkLst>
            <pc:docMk/>
            <pc:sldMk cId="3198980089" sldId="445"/>
            <ac:spMk id="15" creationId="{81B84597-5C10-20B6-A960-16CAEB5F111C}"/>
          </ac:spMkLst>
        </pc:spChg>
        <pc:spChg chg="add mod">
          <ac:chgData name="Siddhesh Kudalkar" userId="e71ab7ec-6610-4515-9e05-52121577fe59" providerId="ADAL" clId="{4CC5286C-CF3C-45D6-A2B7-D16CCFA2A2A4}" dt="2024-08-09T11:54:27.411" v="302" actId="1038"/>
          <ac:spMkLst>
            <pc:docMk/>
            <pc:sldMk cId="3198980089" sldId="445"/>
            <ac:spMk id="16" creationId="{64F0FF5C-5F99-E065-12D9-9B8C696BD819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17" creationId="{9A5B737D-9C1C-ABF3-D01F-8D6CDE819C3B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18" creationId="{0763F07E-0003-5149-A6C9-0394BC00D660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19" creationId="{E9D7C3C6-74F2-88C9-1A36-C133D54CAE74}"/>
          </ac:spMkLst>
        </pc:spChg>
        <pc:spChg chg="add mod">
          <ac:chgData name="Siddhesh Kudalkar" userId="e71ab7ec-6610-4515-9e05-52121577fe59" providerId="ADAL" clId="{4CC5286C-CF3C-45D6-A2B7-D16CCFA2A2A4}" dt="2024-08-09T11:49:58.304" v="282"/>
          <ac:spMkLst>
            <pc:docMk/>
            <pc:sldMk cId="3198980089" sldId="445"/>
            <ac:spMk id="20" creationId="{314C8BC7-7D3A-879A-D22F-B6FFEEB3ED16}"/>
          </ac:spMkLst>
        </pc:spChg>
        <pc:picChg chg="add mod">
          <ac:chgData name="Siddhesh Kudalkar" userId="e71ab7ec-6610-4515-9e05-52121577fe59" providerId="ADAL" clId="{4CC5286C-CF3C-45D6-A2B7-D16CCFA2A2A4}" dt="2024-08-09T11:49:58.304" v="282"/>
          <ac:picMkLst>
            <pc:docMk/>
            <pc:sldMk cId="3198980089" sldId="445"/>
            <ac:picMk id="4" creationId="{83F4645F-7CBE-5ADC-6ECE-065A790023D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790FD16C-8895-420F-A8EA-49A46C0B976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700728C-ECC4-4B3A-8BFF-86F26773B07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72BF263F-937E-45F8-8B87-C3897AF9CC6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AC4AB41-049A-45F6-8400-96B8E558F0A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3719E2-4BAC-4A20-AFDE-2A2DE3B6FB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39700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nl-NL"/>
              <a:t> </a:t>
            </a:r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nl-NL"/>
              <a:t> </a:t>
            </a:r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88A791-D8E8-4C23-A528-EAEB42DC40E7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3903720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onnell_Caldic_Logo">
            <a:extLst>
              <a:ext uri="{FF2B5EF4-FFF2-40B4-BE49-F238E27FC236}">
                <a16:creationId xmlns:a16="http://schemas.microsoft.com/office/drawing/2014/main" id="{162D1EBD-D1EF-BEC9-EB35-2DCA2465572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415779" y="2909381"/>
            <a:ext cx="9363280" cy="1036800"/>
            <a:chOff x="2105971" y="6521396"/>
            <a:chExt cx="974041" cy="107856"/>
          </a:xfrm>
        </p:grpSpPr>
        <p:sp>
          <p:nvSpPr>
            <p:cNvPr id="3" name="Vrije vorm: vorm 2">
              <a:extLst>
                <a:ext uri="{FF2B5EF4-FFF2-40B4-BE49-F238E27FC236}">
                  <a16:creationId xmlns:a16="http://schemas.microsoft.com/office/drawing/2014/main" id="{8CAA7797-6BA4-CB6F-6FB4-A4F4F2AC82A7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81EF6561-36BC-376A-2864-17384EA67EAC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D668329F-3000-DD3F-BB3B-DDA1F0E48FA0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A024DB2C-057F-53C4-1475-CA6F5F65BD9B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D6CB96-C3AC-6AAE-2C3C-B4327342B487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F0FF5445-886B-AC72-733B-B9131405FA17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9E738B2A-9AE9-A97C-35D0-73937BB21450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3D2DA86E-C91E-F1C6-C6DE-A44A93F49687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2370405F-A7AE-1688-BF26-25CA66E2FED1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891532A3-EA67-70D8-0876-C01CB7FF66A9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CF6DCAFE-D5A9-512B-BC5B-884A1DC9A711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BF52F0FA-3EC6-C214-DA05-7C98F954D531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48F8B49B-86B3-43A9-DB7D-4BB43168DF2C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FBC8D3DD-882F-7DBD-8CB8-CE03ACCDACCB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4517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1131854"/>
            <a:ext cx="11088687" cy="5176871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3B6F409-D612-4479-B660-5837A3CCC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C2C27E-7EA4-4883-9FF4-13FD5069B1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261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,TEX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jdelijke aanduiding voor afbeelding 53">
            <a:extLst>
              <a:ext uri="{FF2B5EF4-FFF2-40B4-BE49-F238E27FC236}">
                <a16:creationId xmlns:a16="http://schemas.microsoft.com/office/drawing/2014/main" id="{1850ACDF-4BC4-6BA1-A482-AA7F5B36C26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2450400" y="0"/>
            <a:ext cx="9741600" cy="6856566"/>
          </a:xfrm>
          <a:prstGeom prst="rect">
            <a:avLst/>
          </a:prstGeom>
          <a:noFill/>
        </p:spPr>
        <p:txBody>
          <a:bodyPr wrap="square" bIns="2592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paste / drop an image here.</a:t>
            </a:r>
          </a:p>
        </p:txBody>
      </p:sp>
      <p:sp>
        <p:nvSpPr>
          <p:cNvPr id="140" name="Tijdelijke aanduiding voor verticale tekst 2">
            <a:extLst>
              <a:ext uri="{FF2B5EF4-FFF2-40B4-BE49-F238E27FC236}">
                <a16:creationId xmlns:a16="http://schemas.microsoft.com/office/drawing/2014/main" id="{0C9A8B1E-8A49-4F86-86BD-22E16DBA54C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2617952"/>
            <a:ext cx="11090275" cy="3690774"/>
          </a:xfrm>
          <a:solidFill>
            <a:schemeClr val="bg1">
              <a:lumMod val="95000"/>
            </a:schemeClr>
          </a:solidFill>
        </p:spPr>
        <p:txBody>
          <a:bodyPr vert="horz" lIns="252000" tIns="810000" rIns="864000" bIns="86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</p:txBody>
      </p:sp>
      <p:sp>
        <p:nvSpPr>
          <p:cNvPr id="141" name="Titel 13">
            <a:extLst>
              <a:ext uri="{FF2B5EF4-FFF2-40B4-BE49-F238E27FC236}">
                <a16:creationId xmlns:a16="http://schemas.microsoft.com/office/drawing/2014/main" id="{D4770C51-8286-41BD-94BE-5D151757EE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488" y="2891579"/>
            <a:ext cx="10573024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271" name="Tijdelijke aanduiding voor tekst 6">
            <a:extLst>
              <a:ext uri="{FF2B5EF4-FFF2-40B4-BE49-F238E27FC236}">
                <a16:creationId xmlns:a16="http://schemas.microsoft.com/office/drawing/2014/main" id="{B0869864-9BAB-4334-97CE-0F3185596B9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09488" y="3190818"/>
            <a:ext cx="540000" cy="28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Tijdelijke aanduiding voor tekst 17">
            <a:extLst>
              <a:ext uri="{FF2B5EF4-FFF2-40B4-BE49-F238E27FC236}">
                <a16:creationId xmlns:a16="http://schemas.microsoft.com/office/drawing/2014/main" id="{F18FEF90-EED6-8549-4B4F-64ED806BA6F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51983" y="6475288"/>
            <a:ext cx="2170800" cy="2412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5264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,TEXT (Medi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Tijdelijke aanduiding voor afbeelding 145">
            <a:extLst>
              <a:ext uri="{FF2B5EF4-FFF2-40B4-BE49-F238E27FC236}">
                <a16:creationId xmlns:a16="http://schemas.microsoft.com/office/drawing/2014/main" id="{D36FFE89-2D0B-42A6-9D91-E183DF6911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3" y="0"/>
            <a:ext cx="7346043" cy="6308725"/>
          </a:xfrm>
          <a:prstGeom prst="rect">
            <a:avLst/>
          </a:prstGeom>
          <a:solidFill>
            <a:schemeClr val="bg1"/>
          </a:solidFill>
        </p:spPr>
        <p:txBody>
          <a:bodyPr wrap="square" rIns="3888000" bIns="162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paste / drop an image here.</a:t>
            </a:r>
          </a:p>
        </p:txBody>
      </p:sp>
      <p:sp>
        <p:nvSpPr>
          <p:cNvPr id="304" name="Tijdelijke aanduiding voor verticale tekst 2">
            <a:extLst>
              <a:ext uri="{FF2B5EF4-FFF2-40B4-BE49-F238E27FC236}">
                <a16:creationId xmlns:a16="http://schemas.microsoft.com/office/drawing/2014/main" id="{514E2A30-95E0-4F12-9608-DDC3B66553A9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3894751" y="546980"/>
            <a:ext cx="7746386" cy="5761746"/>
          </a:xfrm>
          <a:solidFill>
            <a:schemeClr val="bg1">
              <a:lumMod val="95000"/>
            </a:schemeClr>
          </a:solidFill>
        </p:spPr>
        <p:txBody>
          <a:bodyPr vert="horz" lIns="252000" tIns="810000" rIns="864000" bIns="86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3186745D-6354-48D9-BBDA-ED9B84B92B1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163343" y="800973"/>
            <a:ext cx="7241258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</a:t>
            </a:r>
            <a:r>
              <a:rPr lang="en-GB" noProof="0" dirty="0" err="1"/>
              <a:t>title,max</a:t>
            </a:r>
            <a:r>
              <a:rPr lang="en-GB" noProof="0" dirty="0"/>
              <a:t>. 1 line</a:t>
            </a:r>
            <a:endParaRPr lang="en-GB" dirty="0"/>
          </a:p>
        </p:txBody>
      </p:sp>
      <p:sp>
        <p:nvSpPr>
          <p:cNvPr id="332" name="Tijdelijke aanduiding voor tekst 6">
            <a:extLst>
              <a:ext uri="{FF2B5EF4-FFF2-40B4-BE49-F238E27FC236}">
                <a16:creationId xmlns:a16="http://schemas.microsoft.com/office/drawing/2014/main" id="{614A9C8B-B41D-40CE-9FE1-CA5F096F132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3342" y="1105292"/>
            <a:ext cx="540000" cy="28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A69043-1830-461D-A0E8-CAC9B935BDF4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13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END,TEXT (Mediu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Tijdelijke aanduiding voor afbeelding 56">
            <a:extLst>
              <a:ext uri="{FF2B5EF4-FFF2-40B4-BE49-F238E27FC236}">
                <a16:creationId xmlns:a16="http://schemas.microsoft.com/office/drawing/2014/main" id="{371499F1-45E1-8829-AFE4-55B42A76D5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21" t="25154" b="7061"/>
          <a:stretch/>
        </p:blipFill>
        <p:spPr>
          <a:xfrm>
            <a:off x="0" y="0"/>
            <a:ext cx="5361095" cy="4979545"/>
          </a:xfrm>
          <a:prstGeom prst="rect">
            <a:avLst/>
          </a:prstGeom>
        </p:spPr>
      </p:pic>
      <p:sp>
        <p:nvSpPr>
          <p:cNvPr id="304" name="Tijdelijke aanduiding voor verticale tekst 2">
            <a:extLst>
              <a:ext uri="{FF2B5EF4-FFF2-40B4-BE49-F238E27FC236}">
                <a16:creationId xmlns:a16="http://schemas.microsoft.com/office/drawing/2014/main" id="{514E2A30-95E0-4F12-9608-DDC3B66553A9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3894751" y="1417018"/>
            <a:ext cx="7746386" cy="4891708"/>
          </a:xfrm>
          <a:solidFill>
            <a:schemeClr val="bg1">
              <a:lumMod val="95000"/>
            </a:schemeClr>
          </a:solidFill>
        </p:spPr>
        <p:txBody>
          <a:bodyPr vert="horz" lIns="252000" tIns="900000" rIns="864000" bIns="86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A69043-1830-461D-A0E8-CAC9B935BDF4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3186745D-6354-48D9-BBDA-ED9B84B92B1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163343" y="1600314"/>
            <a:ext cx="7241258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</a:t>
            </a:r>
            <a:r>
              <a:rPr lang="en-GB" noProof="0" dirty="0" err="1"/>
              <a:t>title,max</a:t>
            </a:r>
            <a:r>
              <a:rPr lang="en-GB" noProof="0" dirty="0"/>
              <a:t>. 1 line</a:t>
            </a:r>
            <a:endParaRPr lang="en-GB" dirty="0"/>
          </a:p>
        </p:txBody>
      </p:sp>
      <p:sp>
        <p:nvSpPr>
          <p:cNvPr id="332" name="Tijdelijke aanduiding voor tekst 6">
            <a:extLst>
              <a:ext uri="{FF2B5EF4-FFF2-40B4-BE49-F238E27FC236}">
                <a16:creationId xmlns:a16="http://schemas.microsoft.com/office/drawing/2014/main" id="{614A9C8B-B41D-40CE-9FE1-CA5F096F132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63342" y="1904633"/>
            <a:ext cx="540000" cy="28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6380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, TEX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Tijdelijke aanduiding voor verticale tekst 2">
            <a:extLst>
              <a:ext uri="{FF2B5EF4-FFF2-40B4-BE49-F238E27FC236}">
                <a16:creationId xmlns:a16="http://schemas.microsoft.com/office/drawing/2014/main" id="{12EAE880-B63B-4750-A347-05BFFE5FE25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546980"/>
            <a:ext cx="11090275" cy="5761746"/>
          </a:xfrm>
          <a:solidFill>
            <a:schemeClr val="bg1">
              <a:lumMod val="95000"/>
            </a:schemeClr>
          </a:solidFill>
        </p:spPr>
        <p:txBody>
          <a:bodyPr vert="horz" lIns="252000" tIns="810000" rIns="864000" bIns="86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sp>
        <p:nvSpPr>
          <p:cNvPr id="344" name="Titel 13">
            <a:extLst>
              <a:ext uri="{FF2B5EF4-FFF2-40B4-BE49-F238E27FC236}">
                <a16:creationId xmlns:a16="http://schemas.microsoft.com/office/drawing/2014/main" id="{9D9C66F3-4549-4397-92CF-B3C4C1BE0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0831" y="801739"/>
            <a:ext cx="10550338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345" name="Tijdelijke aanduiding voor tekst 6">
            <a:extLst>
              <a:ext uri="{FF2B5EF4-FFF2-40B4-BE49-F238E27FC236}">
                <a16:creationId xmlns:a16="http://schemas.microsoft.com/office/drawing/2014/main" id="{169DBD61-AB90-4BED-80B6-AC30A287368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20831" y="1106058"/>
            <a:ext cx="540000" cy="28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B5D3E6-63BC-4522-97CA-A1D4AB000651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515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x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AB87B05-D694-442F-92D3-CB1834603EFD}"/>
              </a:ext>
            </a:extLst>
          </p:cNvPr>
          <p:cNvSpPr/>
          <p:nvPr userDrawn="1"/>
        </p:nvSpPr>
        <p:spPr>
          <a:xfrm>
            <a:off x="-10750" y="0"/>
            <a:ext cx="5695289" cy="685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4" name="Tijdelijke aanduiding voor afbeelding 153">
            <a:extLst>
              <a:ext uri="{FF2B5EF4-FFF2-40B4-BE49-F238E27FC236}">
                <a16:creationId xmlns:a16="http://schemas.microsoft.com/office/drawing/2014/main" id="{A9D0BC58-41A5-4F5A-A215-2EE576A09C4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86127" y="3003460"/>
            <a:ext cx="2778085" cy="3304422"/>
          </a:xfrm>
          <a:prstGeom prst="rect">
            <a:avLst/>
          </a:prstGeom>
          <a:solidFill>
            <a:schemeClr val="bg1"/>
          </a:solidFill>
        </p:spPr>
        <p:txBody>
          <a:bodyPr wrap="square" bIns="3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16" name="Tijdelijke aanduiding voor afbeelding 8">
            <a:extLst>
              <a:ext uri="{FF2B5EF4-FFF2-40B4-BE49-F238E27FC236}">
                <a16:creationId xmlns:a16="http://schemas.microsoft.com/office/drawing/2014/main" id="{0411F339-2DCE-4F86-BDF9-B7CEF860976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63" y="550117"/>
            <a:ext cx="2762530" cy="4103199"/>
          </a:xfrm>
          <a:prstGeom prst="rect">
            <a:avLst/>
          </a:prstGeom>
          <a:solidFill>
            <a:schemeClr val="bg1"/>
          </a:solidFill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17" name="Tijdelijke aanduiding voor afbeelding 8">
            <a:extLst>
              <a:ext uri="{FF2B5EF4-FFF2-40B4-BE49-F238E27FC236}">
                <a16:creationId xmlns:a16="http://schemas.microsoft.com/office/drawing/2014/main" id="{BFD1B0C6-9D5D-4F14-A85A-30DC031E75C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86127" y="550118"/>
            <a:ext cx="2778085" cy="2330142"/>
          </a:xfrm>
          <a:prstGeom prst="rect">
            <a:avLst/>
          </a:prstGeom>
          <a:solidFill>
            <a:schemeClr val="bg1"/>
          </a:solidFill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20" name="Tijdelijke aanduiding voor afbeelding 8">
            <a:extLst>
              <a:ext uri="{FF2B5EF4-FFF2-40B4-BE49-F238E27FC236}">
                <a16:creationId xmlns:a16="http://schemas.microsoft.com/office/drawing/2014/main" id="{EA9CD70C-5600-4769-B472-E57FF2B8C47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0863" y="4782058"/>
            <a:ext cx="2762530" cy="1525825"/>
          </a:xfrm>
          <a:prstGeom prst="rect">
            <a:avLst/>
          </a:prstGeom>
          <a:solidFill>
            <a:schemeClr val="bg1"/>
          </a:solidFill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248" name="Tijdelijke aanduiding voor verticale tekst 2">
            <a:extLst>
              <a:ext uri="{FF2B5EF4-FFF2-40B4-BE49-F238E27FC236}">
                <a16:creationId xmlns:a16="http://schemas.microsoft.com/office/drawing/2014/main" id="{1BC7EA8D-C989-4FDE-80EC-74EB548F584A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825531" y="1140528"/>
            <a:ext cx="4815607" cy="5167353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</a:t>
            </a:r>
          </a:p>
        </p:txBody>
      </p:sp>
      <p:grpSp>
        <p:nvGrpSpPr>
          <p:cNvPr id="2" name="Connell_Caldic_Logo">
            <a:extLst>
              <a:ext uri="{FF2B5EF4-FFF2-40B4-BE49-F238E27FC236}">
                <a16:creationId xmlns:a16="http://schemas.microsoft.com/office/drawing/2014/main" id="{D8A76BCD-CB51-3F91-2165-D5819AE240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8508BF61-AD1D-6403-6B48-C44EEDCED59E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40E1082A-8C36-123D-9F76-4A7511114465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3E6BA3C0-41F0-BF49-11AF-7F8F578814A2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F77BB3F9-1A77-DD6D-EB1A-4F8A1D897363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0D117DF4-7F32-429A-C025-9857D7BB398D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4E6B6DAB-A871-7124-5424-A20C0EC266B0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38CED6D3-2D6A-2B3F-19FA-BBEC7636EF52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B53503A9-3E72-F422-E716-1F38B458B18B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9C7BBD5C-C477-8F9A-01C2-AE92184440A6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5581B0BB-20D1-3224-897C-68A88F043BB5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48217883-3A13-7214-C8E1-137947AA5782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170EBB28-5DAF-C103-5AEA-95BA647929CF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D30211B9-2F56-BAE7-71C8-BDF3FBFB7760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74EBB7FA-BCA3-B53C-3C39-CC98742D7DCA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249" name="Titel 3">
            <a:extLst>
              <a:ext uri="{FF2B5EF4-FFF2-40B4-BE49-F238E27FC236}">
                <a16:creationId xmlns:a16="http://schemas.microsoft.com/office/drawing/2014/main" id="{E937F0F8-0F7A-49D1-8E87-DD0743FE4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5904" y="538268"/>
            <a:ext cx="4815235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335" name="Rechthoek 334">
            <a:extLst>
              <a:ext uri="{FF2B5EF4-FFF2-40B4-BE49-F238E27FC236}">
                <a16:creationId xmlns:a16="http://schemas.microsoft.com/office/drawing/2014/main" id="{705F1C5F-FF9C-415F-BD29-B8091061DF08}"/>
              </a:ext>
            </a:extLst>
          </p:cNvPr>
          <p:cNvSpPr/>
          <p:nvPr userDrawn="1"/>
        </p:nvSpPr>
        <p:spPr>
          <a:xfrm>
            <a:off x="6825904" y="837507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499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x PHOTO + B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A picture containing stationary, envelope, businesscard&#10;&#10;Description automatically generated">
            <a:extLst>
              <a:ext uri="{FF2B5EF4-FFF2-40B4-BE49-F238E27FC236}">
                <a16:creationId xmlns:a16="http://schemas.microsoft.com/office/drawing/2014/main" id="{5E6B29ED-1291-39CD-4157-CE5E023CB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8" t="66243" r="22610"/>
          <a:stretch/>
        </p:blipFill>
        <p:spPr>
          <a:xfrm rot="7395930">
            <a:off x="10039066" y="4930204"/>
            <a:ext cx="3695914" cy="1695086"/>
          </a:xfrm>
          <a:custGeom>
            <a:avLst/>
            <a:gdLst>
              <a:gd name="connsiteX0" fmla="*/ 0 w 3695914"/>
              <a:gd name="connsiteY0" fmla="*/ 1695086 h 1695086"/>
              <a:gd name="connsiteX1" fmla="*/ 2583911 w 3695914"/>
              <a:gd name="connsiteY1" fmla="*/ 0 h 1695086"/>
              <a:gd name="connsiteX2" fmla="*/ 3695914 w 3695914"/>
              <a:gd name="connsiteY2" fmla="*/ 1695086 h 169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95914" h="1695086">
                <a:moveTo>
                  <a:pt x="0" y="1695086"/>
                </a:moveTo>
                <a:lnTo>
                  <a:pt x="2583911" y="0"/>
                </a:lnTo>
                <a:lnTo>
                  <a:pt x="3695914" y="1695086"/>
                </a:lnTo>
                <a:close/>
              </a:path>
            </a:pathLst>
          </a:custGeom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3AB87B05-D694-442F-92D3-CB1834603EFD}"/>
              </a:ext>
            </a:extLst>
          </p:cNvPr>
          <p:cNvSpPr/>
          <p:nvPr userDrawn="1"/>
        </p:nvSpPr>
        <p:spPr>
          <a:xfrm>
            <a:off x="-10750" y="0"/>
            <a:ext cx="5695289" cy="685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4" name="Tijdelijke aanduiding voor afbeelding 153">
            <a:extLst>
              <a:ext uri="{FF2B5EF4-FFF2-40B4-BE49-F238E27FC236}">
                <a16:creationId xmlns:a16="http://schemas.microsoft.com/office/drawing/2014/main" id="{A9D0BC58-41A5-4F5A-A215-2EE576A09C4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86127" y="3003460"/>
            <a:ext cx="2778085" cy="3304422"/>
          </a:xfrm>
          <a:prstGeom prst="rect">
            <a:avLst/>
          </a:prstGeom>
          <a:solidFill>
            <a:schemeClr val="bg1"/>
          </a:solidFill>
        </p:spPr>
        <p:txBody>
          <a:bodyPr wrap="square" bIns="3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16" name="Tijdelijke aanduiding voor afbeelding 8">
            <a:extLst>
              <a:ext uri="{FF2B5EF4-FFF2-40B4-BE49-F238E27FC236}">
                <a16:creationId xmlns:a16="http://schemas.microsoft.com/office/drawing/2014/main" id="{0411F339-2DCE-4F86-BDF9-B7CEF860976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63" y="550117"/>
            <a:ext cx="2762530" cy="4103199"/>
          </a:xfrm>
          <a:prstGeom prst="rect">
            <a:avLst/>
          </a:prstGeom>
          <a:solidFill>
            <a:schemeClr val="bg1"/>
          </a:solidFill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17" name="Tijdelijke aanduiding voor afbeelding 8">
            <a:extLst>
              <a:ext uri="{FF2B5EF4-FFF2-40B4-BE49-F238E27FC236}">
                <a16:creationId xmlns:a16="http://schemas.microsoft.com/office/drawing/2014/main" id="{BFD1B0C6-9D5D-4F14-A85A-30DC031E75C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486127" y="550118"/>
            <a:ext cx="2778085" cy="2330142"/>
          </a:xfrm>
          <a:prstGeom prst="rect">
            <a:avLst/>
          </a:prstGeom>
          <a:solidFill>
            <a:schemeClr val="bg1"/>
          </a:solidFill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20" name="Tijdelijke aanduiding voor afbeelding 8">
            <a:extLst>
              <a:ext uri="{FF2B5EF4-FFF2-40B4-BE49-F238E27FC236}">
                <a16:creationId xmlns:a16="http://schemas.microsoft.com/office/drawing/2014/main" id="{EA9CD70C-5600-4769-B472-E57FF2B8C47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0863" y="4782058"/>
            <a:ext cx="2762530" cy="1525825"/>
          </a:xfrm>
          <a:prstGeom prst="rect">
            <a:avLst/>
          </a:prstGeom>
          <a:solidFill>
            <a:schemeClr val="bg1"/>
          </a:solidFill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n image.</a:t>
            </a:r>
            <a:br>
              <a:rPr lang="en-GB" dirty="0"/>
            </a:br>
            <a:endParaRPr lang="en-GB" dirty="0"/>
          </a:p>
        </p:txBody>
      </p:sp>
      <p:sp>
        <p:nvSpPr>
          <p:cNvPr id="248" name="Tijdelijke aanduiding voor verticale tekst 2">
            <a:extLst>
              <a:ext uri="{FF2B5EF4-FFF2-40B4-BE49-F238E27FC236}">
                <a16:creationId xmlns:a16="http://schemas.microsoft.com/office/drawing/2014/main" id="{1BC7EA8D-C989-4FDE-80EC-74EB548F584A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825531" y="1140528"/>
            <a:ext cx="4815607" cy="5167353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</a:t>
            </a:r>
          </a:p>
        </p:txBody>
      </p:sp>
      <p:grpSp>
        <p:nvGrpSpPr>
          <p:cNvPr id="13" name="Connell_Caldic_Logo">
            <a:extLst>
              <a:ext uri="{FF2B5EF4-FFF2-40B4-BE49-F238E27FC236}">
                <a16:creationId xmlns:a16="http://schemas.microsoft.com/office/drawing/2014/main" id="{26370B2D-A656-130C-76B4-5DAF251CFE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C67F4F3E-35FB-B336-D5DC-C6AFB6FD4EED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F237F209-9723-6B4A-14A6-058C5E7FD62E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16F34791-9D6F-880A-B841-DD950AE94DC8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52505177-D1D9-5F50-9655-E428EE1BA332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673E0E1F-6CF6-B264-7E0A-323CEEA03266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DA26A650-6EB3-1DE9-B6A6-DD02FC37397B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01F6E402-1A31-DC15-66AF-A4FBCEC3F629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9508F609-5470-4B32-17C7-18B850DDC0DF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4D9B7134-0CD5-B735-CBF7-06113D9AB92B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085696A-6FFF-2F6D-A589-DEF807842C78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F03245B4-95AB-E440-78BD-7B41AE9BE2BE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2169BC80-88A5-F959-EC34-75BC971A3EAA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257DABCC-8513-C04B-E387-17D7F4C460E6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ADB87865-DC11-F028-B871-A914DCF5E3B8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249" name="Titel 3">
            <a:extLst>
              <a:ext uri="{FF2B5EF4-FFF2-40B4-BE49-F238E27FC236}">
                <a16:creationId xmlns:a16="http://schemas.microsoft.com/office/drawing/2014/main" id="{E937F0F8-0F7A-49D1-8E87-DD0743FE4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5904" y="538268"/>
            <a:ext cx="4815235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335" name="Rechthoek 334">
            <a:extLst>
              <a:ext uri="{FF2B5EF4-FFF2-40B4-BE49-F238E27FC236}">
                <a16:creationId xmlns:a16="http://schemas.microsoft.com/office/drawing/2014/main" id="{705F1C5F-FF9C-415F-BD29-B8091061DF08}"/>
              </a:ext>
            </a:extLst>
          </p:cNvPr>
          <p:cNvSpPr/>
          <p:nvPr userDrawn="1"/>
        </p:nvSpPr>
        <p:spPr>
          <a:xfrm>
            <a:off x="6825904" y="837507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>
          <a:xfrm>
            <a:off x="11222028" y="7020000"/>
            <a:ext cx="419110" cy="231068"/>
          </a:xfrm>
        </p:spPr>
        <p:txBody>
          <a:bodyPr/>
          <a:lstStyle>
            <a:lvl1pPr>
              <a:defRPr>
                <a:solidFill>
                  <a:srgbClr val="E3F0EB"/>
                </a:solidFill>
              </a:defRPr>
            </a:lvl1pPr>
          </a:lstStyle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580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AB87B05-D694-442F-92D3-CB1834603EFD}"/>
              </a:ext>
            </a:extLst>
          </p:cNvPr>
          <p:cNvSpPr/>
          <p:nvPr userDrawn="1"/>
        </p:nvSpPr>
        <p:spPr>
          <a:xfrm>
            <a:off x="-10750" y="0"/>
            <a:ext cx="5695289" cy="685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8" name="Tijdelijke aanduiding voor verticale tekst 2">
            <a:extLst>
              <a:ext uri="{FF2B5EF4-FFF2-40B4-BE49-F238E27FC236}">
                <a16:creationId xmlns:a16="http://schemas.microsoft.com/office/drawing/2014/main" id="{1BC7EA8D-C989-4FDE-80EC-74EB548F584A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825531" y="1140528"/>
            <a:ext cx="4815607" cy="5168194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grpSp>
        <p:nvGrpSpPr>
          <p:cNvPr id="2" name="Connell_Caldic_Logo">
            <a:extLst>
              <a:ext uri="{FF2B5EF4-FFF2-40B4-BE49-F238E27FC236}">
                <a16:creationId xmlns:a16="http://schemas.microsoft.com/office/drawing/2014/main" id="{DC865D01-6B2C-70EC-36BE-E0DC02B2AD5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75B3672-F5C2-AB12-4494-C33996E35B10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3BE75591-F8C9-2005-062F-035A4FF116E9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11EC06F2-0EF9-5490-C658-C2B38FDB16AD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A2B66571-4AA5-1362-E20C-D41BBE8C2E73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5FFB35AD-3587-2643-168F-7F3F12CF94D5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3F9E8E94-AB28-CBB3-4855-0BC6AB21F0F0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2C99E433-E715-67A9-7CF3-C86D5F17886C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6B8D5E93-D6ED-1A8A-9DC9-3757BE576871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419519DD-4856-188F-A2AD-32471E0A6840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37582EB2-819B-92E2-DA04-562375015E21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5EBADC54-6BD9-3639-7AC9-BD7B8D3D4ECB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6558CAC3-BCC1-048B-040C-CCA8BCE19FDA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06F5D366-9F73-9F01-FE5E-38E7CA3E204E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D0302922-0576-4B7B-EF5C-D815337482D1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249" name="Titel 3">
            <a:extLst>
              <a:ext uri="{FF2B5EF4-FFF2-40B4-BE49-F238E27FC236}">
                <a16:creationId xmlns:a16="http://schemas.microsoft.com/office/drawing/2014/main" id="{E937F0F8-0F7A-49D1-8E87-DD0743FE4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5904" y="538268"/>
            <a:ext cx="4815235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335" name="Rechthoek 334">
            <a:extLst>
              <a:ext uri="{FF2B5EF4-FFF2-40B4-BE49-F238E27FC236}">
                <a16:creationId xmlns:a16="http://schemas.microsoft.com/office/drawing/2014/main" id="{705F1C5F-FF9C-415F-BD29-B8091061DF08}"/>
              </a:ext>
            </a:extLst>
          </p:cNvPr>
          <p:cNvSpPr/>
          <p:nvPr userDrawn="1"/>
        </p:nvSpPr>
        <p:spPr>
          <a:xfrm>
            <a:off x="6825904" y="837507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7" name="Tijdelijke aanduiding voor afbeelding 8">
            <a:extLst>
              <a:ext uri="{FF2B5EF4-FFF2-40B4-BE49-F238E27FC236}">
                <a16:creationId xmlns:a16="http://schemas.microsoft.com/office/drawing/2014/main" id="{7EEBA8D6-331F-4322-8E6C-54EDCA477DF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63" y="550118"/>
            <a:ext cx="5734132" cy="5758608"/>
          </a:xfrm>
          <a:prstGeom prst="rect">
            <a:avLst/>
          </a:prstGeom>
          <a:solidFill>
            <a:schemeClr val="bg1"/>
          </a:solidFill>
        </p:spPr>
        <p:txBody>
          <a:bodyPr bIns="90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</a:t>
            </a:r>
            <a:br>
              <a:rPr lang="en-GB" dirty="0"/>
            </a:br>
            <a:r>
              <a:rPr lang="en-GB" dirty="0"/>
              <a:t>or paste / drop an image her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C61C8-87A8-44FD-89A5-04FCAB4DA0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667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x + PHOTO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Rechthoek 326">
            <a:extLst>
              <a:ext uri="{FF2B5EF4-FFF2-40B4-BE49-F238E27FC236}">
                <a16:creationId xmlns:a16="http://schemas.microsoft.com/office/drawing/2014/main" id="{CC4C9943-5753-493A-829E-2C1F418056E2}"/>
              </a:ext>
            </a:extLst>
          </p:cNvPr>
          <p:cNvSpPr/>
          <p:nvPr userDrawn="1"/>
        </p:nvSpPr>
        <p:spPr>
          <a:xfrm rot="5400000">
            <a:off x="4021458" y="-1300253"/>
            <a:ext cx="4149083" cy="121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2" name="Tijdelijke aanduiding voor afbeelding 8">
            <a:extLst>
              <a:ext uri="{FF2B5EF4-FFF2-40B4-BE49-F238E27FC236}">
                <a16:creationId xmlns:a16="http://schemas.microsoft.com/office/drawing/2014/main" id="{FC1D9A08-D57D-4F75-9FB2-52BB0854DF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863" y="1141143"/>
            <a:ext cx="3547038" cy="2164664"/>
          </a:xfrm>
          <a:prstGeom prst="rect">
            <a:avLst/>
          </a:prstGeom>
          <a:solidFill>
            <a:schemeClr val="bg1"/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paste / drop an image here.</a:t>
            </a:r>
          </a:p>
        </p:txBody>
      </p:sp>
      <p:sp>
        <p:nvSpPr>
          <p:cNvPr id="343" name="Tijdelijke aanduiding voor afbeelding 8">
            <a:extLst>
              <a:ext uri="{FF2B5EF4-FFF2-40B4-BE49-F238E27FC236}">
                <a16:creationId xmlns:a16="http://schemas.microsoft.com/office/drawing/2014/main" id="{458864DE-103A-492C-90D9-9335DEF7E9C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2738" y="1141143"/>
            <a:ext cx="3546000" cy="2164664"/>
          </a:xfrm>
          <a:prstGeom prst="rect">
            <a:avLst/>
          </a:prstGeom>
          <a:solidFill>
            <a:schemeClr val="bg1"/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paste / drop an image here.</a:t>
            </a:r>
          </a:p>
        </p:txBody>
      </p:sp>
      <p:sp>
        <p:nvSpPr>
          <p:cNvPr id="344" name="Tijdelijke aanduiding voor afbeelding 8">
            <a:extLst>
              <a:ext uri="{FF2B5EF4-FFF2-40B4-BE49-F238E27FC236}">
                <a16:creationId xmlns:a16="http://schemas.microsoft.com/office/drawing/2014/main" id="{B2D94020-6FF3-4A97-8C83-ADEC960AFD74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093576" y="1141143"/>
            <a:ext cx="3546000" cy="2164664"/>
          </a:xfrm>
          <a:prstGeom prst="rect">
            <a:avLst/>
          </a:prstGeom>
          <a:solidFill>
            <a:schemeClr val="bg1"/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paste / drop an image here.</a:t>
            </a:r>
          </a:p>
        </p:txBody>
      </p:sp>
      <p:sp>
        <p:nvSpPr>
          <p:cNvPr id="348" name="Tijdelijke aanduiding voor verticale tekst 2">
            <a:extLst>
              <a:ext uri="{FF2B5EF4-FFF2-40B4-BE49-F238E27FC236}">
                <a16:creationId xmlns:a16="http://schemas.microsoft.com/office/drawing/2014/main" id="{7EAE6844-BBAA-4EC3-BAE9-7933C72F08A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093576" y="3552195"/>
            <a:ext cx="3546000" cy="2756530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</p:txBody>
      </p:sp>
      <p:sp>
        <p:nvSpPr>
          <p:cNvPr id="349" name="Tijdelijke aanduiding voor verticale tekst 2">
            <a:extLst>
              <a:ext uri="{FF2B5EF4-FFF2-40B4-BE49-F238E27FC236}">
                <a16:creationId xmlns:a16="http://schemas.microsoft.com/office/drawing/2014/main" id="{CB584495-DA71-4047-9C8C-BCAEDB51A979}"/>
              </a:ext>
            </a:extLst>
          </p:cNvPr>
          <p:cNvSpPr>
            <a:spLocks noGrp="1"/>
          </p:cNvSpPr>
          <p:nvPr>
            <p:ph type="body" orient="vert" idx="54" hasCustomPrompt="1"/>
          </p:nvPr>
        </p:nvSpPr>
        <p:spPr>
          <a:xfrm>
            <a:off x="4322219" y="3552195"/>
            <a:ext cx="3546000" cy="2756530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</p:txBody>
      </p:sp>
      <p:sp>
        <p:nvSpPr>
          <p:cNvPr id="350" name="Tijdelijke aanduiding voor verticale tekst 2">
            <a:extLst>
              <a:ext uri="{FF2B5EF4-FFF2-40B4-BE49-F238E27FC236}">
                <a16:creationId xmlns:a16="http://schemas.microsoft.com/office/drawing/2014/main" id="{2E75850C-2197-4AA6-904D-B3747CDDEF7C}"/>
              </a:ext>
            </a:extLst>
          </p:cNvPr>
          <p:cNvSpPr>
            <a:spLocks noGrp="1"/>
          </p:cNvSpPr>
          <p:nvPr>
            <p:ph type="body" orient="vert" idx="55" hasCustomPrompt="1"/>
          </p:nvPr>
        </p:nvSpPr>
        <p:spPr>
          <a:xfrm>
            <a:off x="550863" y="3552195"/>
            <a:ext cx="3546000" cy="2756530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</p:txBody>
      </p:sp>
      <p:grpSp>
        <p:nvGrpSpPr>
          <p:cNvPr id="2" name="Connell_Caldic_Logo">
            <a:extLst>
              <a:ext uri="{FF2B5EF4-FFF2-40B4-BE49-F238E27FC236}">
                <a16:creationId xmlns:a16="http://schemas.microsoft.com/office/drawing/2014/main" id="{3D0DB48A-1FA1-7C12-952A-749A4CF6B6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6F3F7C28-E63E-BD28-0C33-2EFB2CD7BC12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9CDDF5B3-C821-067F-3ABA-504A3D863E61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AB8D9674-16EB-0D11-CE38-63FB2BB80713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288E3839-E02B-5742-0A28-566F389AC24E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313693C0-2147-2F9E-7A43-B2E49D3FCE00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4FAA89EC-C03C-2DF5-8BC0-E2C1BB62BE8B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681D683C-02D0-4ED4-9B96-1DC0A3B7AAD1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FDA889BB-8698-4088-81D6-08959D9819CE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99A62872-6BE3-7539-3A24-D7DAB301D1CC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5819F579-A2FD-3800-71F6-D90D9EA50D87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69E4F84F-E566-8A6A-BEB2-7047AA84A757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3159486B-0307-2DE4-E28B-E18C0C3DC893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6EFF95C-1E2B-C89F-5EDB-981E353DF8AF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2551A56C-CFAB-692C-1726-BD6A0AE8D11A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4402CF-BE6F-47C4-88FB-5FCA6A466689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163EF2-C3FA-892E-4BDC-A50544281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5x + PHOTO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Rechthoek 157">
            <a:extLst>
              <a:ext uri="{FF2B5EF4-FFF2-40B4-BE49-F238E27FC236}">
                <a16:creationId xmlns:a16="http://schemas.microsoft.com/office/drawing/2014/main" id="{E5693D9F-B760-4BA1-9198-FF6312D68ED8}"/>
              </a:ext>
            </a:extLst>
          </p:cNvPr>
          <p:cNvSpPr/>
          <p:nvPr userDrawn="1"/>
        </p:nvSpPr>
        <p:spPr>
          <a:xfrm rot="5400000">
            <a:off x="4021458" y="-1300253"/>
            <a:ext cx="4149083" cy="121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2" name="Tijdelijke aanduiding voor afbeelding 8">
            <a:extLst>
              <a:ext uri="{FF2B5EF4-FFF2-40B4-BE49-F238E27FC236}">
                <a16:creationId xmlns:a16="http://schemas.microsoft.com/office/drawing/2014/main" id="{FC1D9A08-D57D-4F75-9FB2-52BB0854DF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8547" y="1441486"/>
            <a:ext cx="2003177" cy="1280934"/>
          </a:xfrm>
          <a:prstGeom prst="rect">
            <a:avLst/>
          </a:prstGeom>
          <a:solidFill>
            <a:schemeClr val="bg1"/>
          </a:solidFill>
        </p:spPr>
        <p:txBody>
          <a:bodyPr bIns="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or paste / drop an image here.</a:t>
            </a:r>
          </a:p>
        </p:txBody>
      </p:sp>
      <p:sp>
        <p:nvSpPr>
          <p:cNvPr id="2" name="Tijdelijke aanduiding voor verticale tekst 2">
            <a:extLst>
              <a:ext uri="{FF2B5EF4-FFF2-40B4-BE49-F238E27FC236}">
                <a16:creationId xmlns:a16="http://schemas.microsoft.com/office/drawing/2014/main" id="{47AA2B3A-7EEF-5FCA-7F8D-6EC989612EAC}"/>
              </a:ext>
            </a:extLst>
          </p:cNvPr>
          <p:cNvSpPr>
            <a:spLocks noGrp="1"/>
          </p:cNvSpPr>
          <p:nvPr>
            <p:ph type="body" orient="vert" idx="75" hasCustomPrompt="1"/>
          </p:nvPr>
        </p:nvSpPr>
        <p:spPr>
          <a:xfrm>
            <a:off x="558547" y="2933701"/>
            <a:ext cx="2001295" cy="3375024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</p:txBody>
      </p:sp>
      <p:sp>
        <p:nvSpPr>
          <p:cNvPr id="180" name="Tijdelijke aanduiding voor afbeelding 8">
            <a:extLst>
              <a:ext uri="{FF2B5EF4-FFF2-40B4-BE49-F238E27FC236}">
                <a16:creationId xmlns:a16="http://schemas.microsoft.com/office/drawing/2014/main" id="{FC4C4733-28C3-434D-B23A-C5F120E5E8EA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2828041" y="1441486"/>
            <a:ext cx="2003177" cy="1280934"/>
          </a:xfrm>
          <a:prstGeom prst="rect">
            <a:avLst/>
          </a:prstGeom>
          <a:solidFill>
            <a:schemeClr val="bg1"/>
          </a:solidFill>
        </p:spPr>
        <p:txBody>
          <a:bodyPr bIns="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or paste / drop an image here.</a:t>
            </a:r>
          </a:p>
        </p:txBody>
      </p:sp>
      <p:sp>
        <p:nvSpPr>
          <p:cNvPr id="181" name="Tijdelijke aanduiding voor verticale tekst 2">
            <a:extLst>
              <a:ext uri="{FF2B5EF4-FFF2-40B4-BE49-F238E27FC236}">
                <a16:creationId xmlns:a16="http://schemas.microsoft.com/office/drawing/2014/main" id="{E6BE4C4F-B000-4C24-BC8A-EE1A1C67DAD2}"/>
              </a:ext>
            </a:extLst>
          </p:cNvPr>
          <p:cNvSpPr>
            <a:spLocks noGrp="1"/>
          </p:cNvSpPr>
          <p:nvPr>
            <p:ph type="body" orient="vert" idx="57" hasCustomPrompt="1"/>
          </p:nvPr>
        </p:nvSpPr>
        <p:spPr>
          <a:xfrm>
            <a:off x="2828512" y="2933701"/>
            <a:ext cx="2001295" cy="3375024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</p:txBody>
      </p:sp>
      <p:sp>
        <p:nvSpPr>
          <p:cNvPr id="182" name="Tijdelijke aanduiding voor afbeelding 8">
            <a:extLst>
              <a:ext uri="{FF2B5EF4-FFF2-40B4-BE49-F238E27FC236}">
                <a16:creationId xmlns:a16="http://schemas.microsoft.com/office/drawing/2014/main" id="{C75544D0-D348-4D35-8893-0B07098A5378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097535" y="1441486"/>
            <a:ext cx="2003177" cy="1280934"/>
          </a:xfrm>
          <a:prstGeom prst="rect">
            <a:avLst/>
          </a:prstGeom>
          <a:solidFill>
            <a:schemeClr val="bg1"/>
          </a:solidFill>
        </p:spPr>
        <p:txBody>
          <a:bodyPr bIns="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or paste / drop an image here.</a:t>
            </a:r>
          </a:p>
        </p:txBody>
      </p:sp>
      <p:sp>
        <p:nvSpPr>
          <p:cNvPr id="183" name="Tijdelijke aanduiding voor verticale tekst 2">
            <a:extLst>
              <a:ext uri="{FF2B5EF4-FFF2-40B4-BE49-F238E27FC236}">
                <a16:creationId xmlns:a16="http://schemas.microsoft.com/office/drawing/2014/main" id="{B79E0C8A-85CF-4C94-9BCE-BD4F01B3596E}"/>
              </a:ext>
            </a:extLst>
          </p:cNvPr>
          <p:cNvSpPr>
            <a:spLocks noGrp="1"/>
          </p:cNvSpPr>
          <p:nvPr>
            <p:ph type="body" orient="vert" idx="59" hasCustomPrompt="1"/>
          </p:nvPr>
        </p:nvSpPr>
        <p:spPr>
          <a:xfrm>
            <a:off x="5098477" y="2933701"/>
            <a:ext cx="2001295" cy="3375024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</p:txBody>
      </p:sp>
      <p:sp>
        <p:nvSpPr>
          <p:cNvPr id="184" name="Tijdelijke aanduiding voor afbeelding 8">
            <a:extLst>
              <a:ext uri="{FF2B5EF4-FFF2-40B4-BE49-F238E27FC236}">
                <a16:creationId xmlns:a16="http://schemas.microsoft.com/office/drawing/2014/main" id="{1111E1F8-80DC-42DE-AE23-B757C9FBCDB2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367029" y="1441486"/>
            <a:ext cx="2003177" cy="1280934"/>
          </a:xfrm>
          <a:prstGeom prst="rect">
            <a:avLst/>
          </a:prstGeom>
          <a:solidFill>
            <a:schemeClr val="bg1"/>
          </a:solidFill>
        </p:spPr>
        <p:txBody>
          <a:bodyPr bIns="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or paste / drop an image here.</a:t>
            </a:r>
          </a:p>
        </p:txBody>
      </p:sp>
      <p:sp>
        <p:nvSpPr>
          <p:cNvPr id="185" name="Tijdelijke aanduiding voor verticale tekst 2">
            <a:extLst>
              <a:ext uri="{FF2B5EF4-FFF2-40B4-BE49-F238E27FC236}">
                <a16:creationId xmlns:a16="http://schemas.microsoft.com/office/drawing/2014/main" id="{A1CF71C1-CAC3-4BAD-9D44-5D95DA07E092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7368442" y="2933701"/>
            <a:ext cx="2001295" cy="3375024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</p:txBody>
      </p:sp>
      <p:sp>
        <p:nvSpPr>
          <p:cNvPr id="186" name="Tijdelijke aanduiding voor afbeelding 8">
            <a:extLst>
              <a:ext uri="{FF2B5EF4-FFF2-40B4-BE49-F238E27FC236}">
                <a16:creationId xmlns:a16="http://schemas.microsoft.com/office/drawing/2014/main" id="{EE3425D5-6460-4A56-8442-675D7E41CD45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9636523" y="1441486"/>
            <a:ext cx="2003177" cy="1280934"/>
          </a:xfrm>
          <a:prstGeom prst="rect">
            <a:avLst/>
          </a:prstGeom>
          <a:solidFill>
            <a:schemeClr val="bg1"/>
          </a:solidFill>
        </p:spPr>
        <p:txBody>
          <a:bodyPr bIns="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or paste / drop an image here.</a:t>
            </a:r>
          </a:p>
        </p:txBody>
      </p:sp>
      <p:sp>
        <p:nvSpPr>
          <p:cNvPr id="187" name="Tijdelijke aanduiding voor verticale tekst 2">
            <a:extLst>
              <a:ext uri="{FF2B5EF4-FFF2-40B4-BE49-F238E27FC236}">
                <a16:creationId xmlns:a16="http://schemas.microsoft.com/office/drawing/2014/main" id="{7C92B304-5BA7-4BB6-8FE2-1E702E7482F7}"/>
              </a:ext>
            </a:extLst>
          </p:cNvPr>
          <p:cNvSpPr>
            <a:spLocks noGrp="1"/>
          </p:cNvSpPr>
          <p:nvPr>
            <p:ph type="body" orient="vert" idx="63" hasCustomPrompt="1"/>
          </p:nvPr>
        </p:nvSpPr>
        <p:spPr>
          <a:xfrm>
            <a:off x="9638405" y="2933701"/>
            <a:ext cx="2001295" cy="3375024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97F96C-B4E0-447C-B888-969A8B941070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4" name="Connell_Caldic_Logo">
            <a:extLst>
              <a:ext uri="{FF2B5EF4-FFF2-40B4-BE49-F238E27FC236}">
                <a16:creationId xmlns:a16="http://schemas.microsoft.com/office/drawing/2014/main" id="{AC9F1520-FC9F-E142-EF65-19C7F7B514B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5BE562E2-149F-546D-C7D9-0A5CC0B58FBB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E15A9772-2D23-24CE-063D-9837D8D38B30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6B5978C0-4757-B410-35E6-BBAC85FAD618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BBD062A3-3A70-B84D-3436-B13E431C0011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C36B3BCC-4398-2137-7D69-CF30E2C53AC5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09900370-1FDD-2EE2-0094-DED26AFC99B2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42C352BF-4CA3-56BE-5924-EAAC11F037E6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8D7AEB9E-2075-C185-CEB7-82DCF08156B1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9BC64C7E-80EC-F632-13A4-E648B67BEF18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637C10DD-3EF3-DF0C-7275-255F298E82E3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D0FB8EEB-DF00-25C4-748C-12F7F6A17ED0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643897D3-430E-C602-F538-3B1405BA6F93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3A62CF92-E3DE-3522-0F00-E42424C06EBE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E7BDE170-4693-C26B-56D2-C6AFE06E719D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2BF80502-D5D7-9D47-7CD5-3C555A1D54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75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3">
            <a:extLst>
              <a:ext uri="{FF2B5EF4-FFF2-40B4-BE49-F238E27FC236}">
                <a16:creationId xmlns:a16="http://schemas.microsoft.com/office/drawing/2014/main" id="{870144F7-5E22-0A1A-D0F3-BF45F6C538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06" b="21906"/>
          <a:stretch/>
        </p:blipFill>
        <p:spPr>
          <a:xfrm>
            <a:off x="344850" y="0"/>
            <a:ext cx="12202750" cy="6856566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38E196F7-3159-4F76-AFD4-91CD28F545FD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550863" y="3127673"/>
            <a:ext cx="4358649" cy="2738973"/>
          </a:xfrm>
          <a:prstGeom prst="snip1Rect">
            <a:avLst/>
          </a:prstGeom>
          <a:solidFill>
            <a:schemeClr val="accent1"/>
          </a:solidFill>
        </p:spPr>
        <p:txBody>
          <a:bodyPr vert="horz" lIns="0" tIns="0" rIns="0" bIns="0"/>
          <a:lstStyle>
            <a:lvl1pPr marL="0" indent="0">
              <a:buFontTx/>
              <a:buNone/>
              <a:defRPr sz="100" b="1">
                <a:solidFill>
                  <a:schemeClr val="accent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1"/>
              <a:t>.</a:t>
            </a:r>
          </a:p>
        </p:txBody>
      </p:sp>
      <p:sp>
        <p:nvSpPr>
          <p:cNvPr id="84" name="Tijdelijke aanduiding voor tekst 412">
            <a:extLst>
              <a:ext uri="{FF2B5EF4-FFF2-40B4-BE49-F238E27FC236}">
                <a16:creationId xmlns:a16="http://schemas.microsoft.com/office/drawing/2014/main" id="{FA36E63A-5989-402B-85D0-722ABF89FCA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863" y="4554904"/>
            <a:ext cx="3782648" cy="198000"/>
          </a:xfrm>
        </p:spPr>
        <p:txBody>
          <a:bodyPr anchor="ctr"/>
          <a:lstStyle>
            <a:lvl1pPr marL="0" indent="0">
              <a:lnSpc>
                <a:spcPct val="80000"/>
              </a:lnSpc>
              <a:buNone/>
              <a:defRPr sz="10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838862" y="3582457"/>
            <a:ext cx="3782649" cy="670711"/>
          </a:xfrm>
        </p:spPr>
        <p:txBody>
          <a:bodyPr rIns="36000" anchor="ctr">
            <a:noAutofit/>
          </a:bodyPr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[Insert title]</a:t>
            </a:r>
            <a:br>
              <a:rPr lang="en-GB" noProof="0" dirty="0"/>
            </a:br>
            <a:r>
              <a:rPr lang="en-GB" noProof="0" dirty="0"/>
              <a:t>(SEGMENT)</a:t>
            </a:r>
          </a:p>
        </p:txBody>
      </p:sp>
      <p:sp>
        <p:nvSpPr>
          <p:cNvPr id="60" name="Tijdelijke aanduiding voor tekst 59">
            <a:extLst>
              <a:ext uri="{FF2B5EF4-FFF2-40B4-BE49-F238E27FC236}">
                <a16:creationId xmlns:a16="http://schemas.microsoft.com/office/drawing/2014/main" id="{C0BFDB78-8D38-FC00-8B46-C732087B841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02864" y="5315847"/>
            <a:ext cx="2700000" cy="2988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352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hthoek 158">
            <a:extLst>
              <a:ext uri="{FF2B5EF4-FFF2-40B4-BE49-F238E27FC236}">
                <a16:creationId xmlns:a16="http://schemas.microsoft.com/office/drawing/2014/main" id="{363B4817-3DEC-4256-8ECB-693C24B43C16}"/>
              </a:ext>
            </a:extLst>
          </p:cNvPr>
          <p:cNvSpPr/>
          <p:nvPr userDrawn="1"/>
        </p:nvSpPr>
        <p:spPr>
          <a:xfrm rot="5400000">
            <a:off x="2672965" y="-2672962"/>
            <a:ext cx="6858000" cy="12203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2" name="Tijdelijke aanduiding voor afbeelding 8">
            <a:extLst>
              <a:ext uri="{FF2B5EF4-FFF2-40B4-BE49-F238E27FC236}">
                <a16:creationId xmlns:a16="http://schemas.microsoft.com/office/drawing/2014/main" id="{FC1D9A08-D57D-4F75-9FB2-52BB0854DF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79071" y="540612"/>
            <a:ext cx="2601392" cy="28883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08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</a:t>
            </a:r>
            <a:br>
              <a:rPr lang="en-GB" dirty="0"/>
            </a:br>
            <a:r>
              <a:rPr lang="en-GB" dirty="0"/>
              <a:t>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50" name="Tijdelijke aanduiding voor verticale tekst 2">
            <a:extLst>
              <a:ext uri="{FF2B5EF4-FFF2-40B4-BE49-F238E27FC236}">
                <a16:creationId xmlns:a16="http://schemas.microsoft.com/office/drawing/2014/main" id="{2E75850C-2197-4AA6-904D-B3747CDDEF7C}"/>
              </a:ext>
            </a:extLst>
          </p:cNvPr>
          <p:cNvSpPr>
            <a:spLocks noGrp="1"/>
          </p:cNvSpPr>
          <p:nvPr>
            <p:ph type="body" orient="vert" idx="55" hasCustomPrompt="1"/>
          </p:nvPr>
        </p:nvSpPr>
        <p:spPr>
          <a:xfrm>
            <a:off x="3379071" y="3708170"/>
            <a:ext cx="260139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2000" b="1">
                <a:solidFill>
                  <a:srgbClr val="FF0000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Full name</a:t>
            </a:r>
          </a:p>
        </p:txBody>
      </p:sp>
      <p:sp>
        <p:nvSpPr>
          <p:cNvPr id="160" name="Tijdelijke aanduiding voor verticale tekst 2">
            <a:extLst>
              <a:ext uri="{FF2B5EF4-FFF2-40B4-BE49-F238E27FC236}">
                <a16:creationId xmlns:a16="http://schemas.microsoft.com/office/drawing/2014/main" id="{7438E1DD-25C1-4130-BC13-761874EA736D}"/>
              </a:ext>
            </a:extLst>
          </p:cNvPr>
          <p:cNvSpPr>
            <a:spLocks noGrp="1"/>
          </p:cNvSpPr>
          <p:nvPr>
            <p:ph type="body" orient="vert" idx="61" hasCustomPrompt="1"/>
          </p:nvPr>
        </p:nvSpPr>
        <p:spPr>
          <a:xfrm>
            <a:off x="3379071" y="4071809"/>
            <a:ext cx="260139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1600" i="0"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Job title</a:t>
            </a:r>
          </a:p>
        </p:txBody>
      </p:sp>
      <p:sp>
        <p:nvSpPr>
          <p:cNvPr id="161" name="Rechthoek 160">
            <a:extLst>
              <a:ext uri="{FF2B5EF4-FFF2-40B4-BE49-F238E27FC236}">
                <a16:creationId xmlns:a16="http://schemas.microsoft.com/office/drawing/2014/main" id="{732A2F64-BE80-406B-A0F6-050E7690193E}"/>
              </a:ext>
            </a:extLst>
          </p:cNvPr>
          <p:cNvSpPr/>
          <p:nvPr userDrawn="1"/>
        </p:nvSpPr>
        <p:spPr>
          <a:xfrm>
            <a:off x="3379071" y="4434820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3" name="Tijdelijke aanduiding voor verticale tekst 2">
            <a:extLst>
              <a:ext uri="{FF2B5EF4-FFF2-40B4-BE49-F238E27FC236}">
                <a16:creationId xmlns:a16="http://schemas.microsoft.com/office/drawing/2014/main" id="{F20FDD30-7464-4829-9783-AB44D9055221}"/>
              </a:ext>
            </a:extLst>
          </p:cNvPr>
          <p:cNvSpPr>
            <a:spLocks noGrp="1"/>
          </p:cNvSpPr>
          <p:nvPr>
            <p:ph type="body" orient="vert" idx="62" hasCustomPrompt="1"/>
          </p:nvPr>
        </p:nvSpPr>
        <p:spPr>
          <a:xfrm>
            <a:off x="3379071" y="4622661"/>
            <a:ext cx="2601392" cy="1692000"/>
          </a:xfrm>
        </p:spPr>
        <p:txBody>
          <a:bodyPr vert="horz" lIns="0" tIns="0" rIns="0" bIns="0"/>
          <a:lstStyle>
            <a:lvl1pPr marL="0" indent="0">
              <a:buClr>
                <a:schemeClr val="bg1"/>
              </a:buClr>
              <a:buNone/>
              <a:defRPr>
                <a:solidFill>
                  <a:schemeClr val="accent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E-mail</a:t>
            </a:r>
          </a:p>
          <a:p>
            <a:pPr lvl="0"/>
            <a:r>
              <a:rPr lang="en-GB" noProof="0" dirty="0"/>
              <a:t>Phone</a:t>
            </a:r>
          </a:p>
        </p:txBody>
      </p:sp>
      <p:sp>
        <p:nvSpPr>
          <p:cNvPr id="170" name="Tijdelijke aanduiding voor afbeelding 8">
            <a:extLst>
              <a:ext uri="{FF2B5EF4-FFF2-40B4-BE49-F238E27FC236}">
                <a16:creationId xmlns:a16="http://schemas.microsoft.com/office/drawing/2014/main" id="{D88DDC3C-BEA5-4E8F-8B86-BD818312BB7D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6209813" y="540612"/>
            <a:ext cx="2602800" cy="28883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08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</a:t>
            </a:r>
            <a:br>
              <a:rPr lang="en-GB" dirty="0"/>
            </a:br>
            <a:r>
              <a:rPr lang="en-GB" dirty="0"/>
              <a:t>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174" name="Tijdelijke aanduiding voor verticale tekst 2">
            <a:extLst>
              <a:ext uri="{FF2B5EF4-FFF2-40B4-BE49-F238E27FC236}">
                <a16:creationId xmlns:a16="http://schemas.microsoft.com/office/drawing/2014/main" id="{1A806BEF-4B02-4CA1-B897-406FA8FD6E8B}"/>
              </a:ext>
            </a:extLst>
          </p:cNvPr>
          <p:cNvSpPr>
            <a:spLocks noGrp="1"/>
          </p:cNvSpPr>
          <p:nvPr>
            <p:ph type="body" orient="vert" idx="66" hasCustomPrompt="1"/>
          </p:nvPr>
        </p:nvSpPr>
        <p:spPr>
          <a:xfrm>
            <a:off x="6209813" y="3708170"/>
            <a:ext cx="260110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2000" b="1">
                <a:solidFill>
                  <a:srgbClr val="FF0000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Full name</a:t>
            </a:r>
          </a:p>
        </p:txBody>
      </p:sp>
      <p:sp>
        <p:nvSpPr>
          <p:cNvPr id="175" name="Tijdelijke aanduiding voor verticale tekst 2">
            <a:extLst>
              <a:ext uri="{FF2B5EF4-FFF2-40B4-BE49-F238E27FC236}">
                <a16:creationId xmlns:a16="http://schemas.microsoft.com/office/drawing/2014/main" id="{26E00447-DE65-4B20-AA3C-9A0D397D1923}"/>
              </a:ext>
            </a:extLst>
          </p:cNvPr>
          <p:cNvSpPr>
            <a:spLocks noGrp="1"/>
          </p:cNvSpPr>
          <p:nvPr>
            <p:ph type="body" orient="vert" idx="67" hasCustomPrompt="1"/>
          </p:nvPr>
        </p:nvSpPr>
        <p:spPr>
          <a:xfrm>
            <a:off x="6209813" y="4071809"/>
            <a:ext cx="260110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1600" i="0"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Job title</a:t>
            </a:r>
          </a:p>
        </p:txBody>
      </p:sp>
      <p:sp>
        <p:nvSpPr>
          <p:cNvPr id="176" name="Rechthoek 175">
            <a:extLst>
              <a:ext uri="{FF2B5EF4-FFF2-40B4-BE49-F238E27FC236}">
                <a16:creationId xmlns:a16="http://schemas.microsoft.com/office/drawing/2014/main" id="{E3FBAEC7-CDFA-48EC-A234-E4EDC1519D96}"/>
              </a:ext>
            </a:extLst>
          </p:cNvPr>
          <p:cNvSpPr/>
          <p:nvPr userDrawn="1"/>
        </p:nvSpPr>
        <p:spPr>
          <a:xfrm>
            <a:off x="6209813" y="4434820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7" name="Tijdelijke aanduiding voor verticale tekst 2">
            <a:extLst>
              <a:ext uri="{FF2B5EF4-FFF2-40B4-BE49-F238E27FC236}">
                <a16:creationId xmlns:a16="http://schemas.microsoft.com/office/drawing/2014/main" id="{67E51B5F-8D14-4E30-9509-FA890991AFC9}"/>
              </a:ext>
            </a:extLst>
          </p:cNvPr>
          <p:cNvSpPr>
            <a:spLocks noGrp="1"/>
          </p:cNvSpPr>
          <p:nvPr>
            <p:ph type="body" orient="vert" idx="68" hasCustomPrompt="1"/>
          </p:nvPr>
        </p:nvSpPr>
        <p:spPr>
          <a:xfrm>
            <a:off x="6209813" y="4622661"/>
            <a:ext cx="2601392" cy="1692000"/>
          </a:xfrm>
        </p:spPr>
        <p:txBody>
          <a:bodyPr vert="horz" lIns="0" tIns="0" rIns="0" bIns="0"/>
          <a:lstStyle>
            <a:lvl1pPr marL="0" indent="0">
              <a:buClr>
                <a:schemeClr val="bg1"/>
              </a:buClr>
              <a:buNone/>
              <a:defRPr>
                <a:solidFill>
                  <a:schemeClr val="accent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E-mail</a:t>
            </a:r>
          </a:p>
          <a:p>
            <a:pPr lvl="0"/>
            <a:r>
              <a:rPr lang="en-GB" noProof="0" dirty="0"/>
              <a:t>Phone</a:t>
            </a:r>
          </a:p>
        </p:txBody>
      </p:sp>
      <p:sp>
        <p:nvSpPr>
          <p:cNvPr id="185" name="Tijdelijke aanduiding voor afbeelding 8">
            <a:extLst>
              <a:ext uri="{FF2B5EF4-FFF2-40B4-BE49-F238E27FC236}">
                <a16:creationId xmlns:a16="http://schemas.microsoft.com/office/drawing/2014/main" id="{03A6267D-4B09-4199-9D73-89A450EF8470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9040696" y="540612"/>
            <a:ext cx="2602800" cy="28883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08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</a:t>
            </a:r>
            <a:br>
              <a:rPr lang="en-GB" dirty="0"/>
            </a:br>
            <a:r>
              <a:rPr lang="en-GB" dirty="0"/>
              <a:t>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186" name="Tijdelijke aanduiding voor verticale tekst 2">
            <a:extLst>
              <a:ext uri="{FF2B5EF4-FFF2-40B4-BE49-F238E27FC236}">
                <a16:creationId xmlns:a16="http://schemas.microsoft.com/office/drawing/2014/main" id="{B1D07B30-9EBD-465C-B260-DB5F9A8639EF}"/>
              </a:ext>
            </a:extLst>
          </p:cNvPr>
          <p:cNvSpPr>
            <a:spLocks noGrp="1"/>
          </p:cNvSpPr>
          <p:nvPr>
            <p:ph type="body" orient="vert" idx="70" hasCustomPrompt="1"/>
          </p:nvPr>
        </p:nvSpPr>
        <p:spPr>
          <a:xfrm>
            <a:off x="9040696" y="3708170"/>
            <a:ext cx="260110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2000" b="1">
                <a:solidFill>
                  <a:srgbClr val="FF0000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Full name</a:t>
            </a:r>
          </a:p>
        </p:txBody>
      </p:sp>
      <p:sp>
        <p:nvSpPr>
          <p:cNvPr id="189" name="Tijdelijke aanduiding voor verticale tekst 2">
            <a:extLst>
              <a:ext uri="{FF2B5EF4-FFF2-40B4-BE49-F238E27FC236}">
                <a16:creationId xmlns:a16="http://schemas.microsoft.com/office/drawing/2014/main" id="{A4BF7AC5-0126-403D-8E2A-1E99A8646B17}"/>
              </a:ext>
            </a:extLst>
          </p:cNvPr>
          <p:cNvSpPr>
            <a:spLocks noGrp="1"/>
          </p:cNvSpPr>
          <p:nvPr>
            <p:ph type="body" orient="vert" idx="73" hasCustomPrompt="1"/>
          </p:nvPr>
        </p:nvSpPr>
        <p:spPr>
          <a:xfrm>
            <a:off x="9040696" y="4071809"/>
            <a:ext cx="260110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1600" i="0"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Job title</a:t>
            </a:r>
          </a:p>
        </p:txBody>
      </p:sp>
      <p:sp>
        <p:nvSpPr>
          <p:cNvPr id="190" name="Rechthoek 189">
            <a:extLst>
              <a:ext uri="{FF2B5EF4-FFF2-40B4-BE49-F238E27FC236}">
                <a16:creationId xmlns:a16="http://schemas.microsoft.com/office/drawing/2014/main" id="{6FDEA2DC-2755-4DA3-97A5-267D73EC699D}"/>
              </a:ext>
            </a:extLst>
          </p:cNvPr>
          <p:cNvSpPr/>
          <p:nvPr userDrawn="1"/>
        </p:nvSpPr>
        <p:spPr>
          <a:xfrm>
            <a:off x="9040696" y="4434820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1" name="Tijdelijke aanduiding voor verticale tekst 2">
            <a:extLst>
              <a:ext uri="{FF2B5EF4-FFF2-40B4-BE49-F238E27FC236}">
                <a16:creationId xmlns:a16="http://schemas.microsoft.com/office/drawing/2014/main" id="{608108D9-05B4-48C1-8A31-E855ABBE8C8B}"/>
              </a:ext>
            </a:extLst>
          </p:cNvPr>
          <p:cNvSpPr>
            <a:spLocks noGrp="1"/>
          </p:cNvSpPr>
          <p:nvPr>
            <p:ph type="body" orient="vert" idx="74" hasCustomPrompt="1"/>
          </p:nvPr>
        </p:nvSpPr>
        <p:spPr>
          <a:xfrm>
            <a:off x="9040696" y="4622661"/>
            <a:ext cx="2601392" cy="1692000"/>
          </a:xfrm>
        </p:spPr>
        <p:txBody>
          <a:bodyPr vert="horz" lIns="0" tIns="0" rIns="0" bIns="0"/>
          <a:lstStyle>
            <a:lvl1pPr marL="0" indent="0">
              <a:buClr>
                <a:schemeClr val="bg1"/>
              </a:buClr>
              <a:buNone/>
              <a:defRPr>
                <a:solidFill>
                  <a:schemeClr val="accent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E-mail</a:t>
            </a:r>
          </a:p>
          <a:p>
            <a:pPr lvl="0"/>
            <a:r>
              <a:rPr lang="en-GB" noProof="0" dirty="0"/>
              <a:t>Phone</a:t>
            </a:r>
          </a:p>
        </p:txBody>
      </p:sp>
      <p:sp>
        <p:nvSpPr>
          <p:cNvPr id="218" name="Tijdelijke aanduiding voor afbeelding 8">
            <a:extLst>
              <a:ext uri="{FF2B5EF4-FFF2-40B4-BE49-F238E27FC236}">
                <a16:creationId xmlns:a16="http://schemas.microsoft.com/office/drawing/2014/main" id="{D61B77EF-9F23-4DCC-B0D7-3FB481BFF5AC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558544" y="540612"/>
            <a:ext cx="2601392" cy="28883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08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</a:t>
            </a:r>
            <a:br>
              <a:rPr lang="en-GB" dirty="0"/>
            </a:br>
            <a:r>
              <a:rPr lang="en-GB" dirty="0"/>
              <a:t>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19" name="Tijdelijke aanduiding voor verticale tekst 2">
            <a:extLst>
              <a:ext uri="{FF2B5EF4-FFF2-40B4-BE49-F238E27FC236}">
                <a16:creationId xmlns:a16="http://schemas.microsoft.com/office/drawing/2014/main" id="{A8D1D48E-38EE-41FB-9B37-8BAC1913A4F0}"/>
              </a:ext>
            </a:extLst>
          </p:cNvPr>
          <p:cNvSpPr>
            <a:spLocks noGrp="1"/>
          </p:cNvSpPr>
          <p:nvPr>
            <p:ph type="body" orient="vert" idx="76" hasCustomPrompt="1"/>
          </p:nvPr>
        </p:nvSpPr>
        <p:spPr>
          <a:xfrm>
            <a:off x="558544" y="3708170"/>
            <a:ext cx="260546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2000" b="1">
                <a:solidFill>
                  <a:schemeClr val="tx2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Full name</a:t>
            </a:r>
          </a:p>
        </p:txBody>
      </p:sp>
      <p:sp>
        <p:nvSpPr>
          <p:cNvPr id="222" name="Tijdelijke aanduiding voor verticale tekst 2">
            <a:extLst>
              <a:ext uri="{FF2B5EF4-FFF2-40B4-BE49-F238E27FC236}">
                <a16:creationId xmlns:a16="http://schemas.microsoft.com/office/drawing/2014/main" id="{0CFCB8FE-D536-4451-A321-A2F73634F1DA}"/>
              </a:ext>
            </a:extLst>
          </p:cNvPr>
          <p:cNvSpPr>
            <a:spLocks noGrp="1"/>
          </p:cNvSpPr>
          <p:nvPr>
            <p:ph type="body" orient="vert" idx="79" hasCustomPrompt="1"/>
          </p:nvPr>
        </p:nvSpPr>
        <p:spPr>
          <a:xfrm>
            <a:off x="558544" y="4071809"/>
            <a:ext cx="2605461" cy="307426"/>
          </a:xfrm>
        </p:spPr>
        <p:txBody>
          <a:bodyPr vert="horz" lIns="0" tIns="0" rIns="0" bIns="0"/>
          <a:lstStyle>
            <a:lvl1pPr marL="0" indent="0" algn="l">
              <a:buFontTx/>
              <a:buNone/>
              <a:defRPr sz="1600" b="1" i="0"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Job title</a:t>
            </a:r>
          </a:p>
        </p:txBody>
      </p:sp>
      <p:grpSp>
        <p:nvGrpSpPr>
          <p:cNvPr id="3" name="Connell_Caldic_Logo">
            <a:extLst>
              <a:ext uri="{FF2B5EF4-FFF2-40B4-BE49-F238E27FC236}">
                <a16:creationId xmlns:a16="http://schemas.microsoft.com/office/drawing/2014/main" id="{398CA720-B3C9-5E3D-93DA-1F530DA3A1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4" name="Vrije vorm: vorm 3">
              <a:extLst>
                <a:ext uri="{FF2B5EF4-FFF2-40B4-BE49-F238E27FC236}">
                  <a16:creationId xmlns:a16="http://schemas.microsoft.com/office/drawing/2014/main" id="{1CBE7445-A18D-F5E3-2F9D-A9283D7EC578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C6A0DE40-7517-3113-4628-D1CD415D5E8F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9429F49E-F098-5F60-B0EC-BA93F1DB6BDA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837FF012-70BB-262D-E051-82A5C4801119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566EAD9-3582-70AC-84F7-71CE43629337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9BEEA21A-2399-547D-8CEB-B1B37ED24E1F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EF9B1EAC-F54D-B756-000D-C581A5F64827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703B9701-167F-F0C4-FBB2-6B83DFE83B8B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B1EDFFF5-4D45-8FA3-BC8D-A209581072FA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2D2A7DD8-B98E-0C7A-0E68-9CE940124B33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6D0D6EF3-B675-F799-A1C2-47C871DEAD7B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577CF31F-7BB9-2FD5-02BB-436727E60061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637A852D-D9CB-5303-5261-B4B73B62D7DB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CD50D3B4-0951-2AE7-6278-D75117122EB9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223" name="Rechthoek 222">
            <a:extLst>
              <a:ext uri="{FF2B5EF4-FFF2-40B4-BE49-F238E27FC236}">
                <a16:creationId xmlns:a16="http://schemas.microsoft.com/office/drawing/2014/main" id="{11E22C02-80F3-4F0E-96B3-A4B48C58F418}"/>
              </a:ext>
            </a:extLst>
          </p:cNvPr>
          <p:cNvSpPr/>
          <p:nvPr userDrawn="1"/>
        </p:nvSpPr>
        <p:spPr>
          <a:xfrm>
            <a:off x="550863" y="4434820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4" name="Tijdelijke aanduiding voor verticale tekst 2">
            <a:extLst>
              <a:ext uri="{FF2B5EF4-FFF2-40B4-BE49-F238E27FC236}">
                <a16:creationId xmlns:a16="http://schemas.microsoft.com/office/drawing/2014/main" id="{E32352F2-DA11-4B32-8F34-B6B8D412C8F4}"/>
              </a:ext>
            </a:extLst>
          </p:cNvPr>
          <p:cNvSpPr>
            <a:spLocks noGrp="1"/>
          </p:cNvSpPr>
          <p:nvPr>
            <p:ph type="body" orient="vert" idx="80" hasCustomPrompt="1"/>
          </p:nvPr>
        </p:nvSpPr>
        <p:spPr>
          <a:xfrm>
            <a:off x="558544" y="4622662"/>
            <a:ext cx="2601392" cy="1692000"/>
          </a:xfrm>
        </p:spPr>
        <p:txBody>
          <a:bodyPr vert="horz" lIns="0" tIns="0" rIns="0" bIns="0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261937" indent="0">
              <a:buClr>
                <a:schemeClr val="accent1"/>
              </a:buClr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2pPr>
            <a:lvl3pPr marL="0" indent="0">
              <a:buClr>
                <a:schemeClr val="accent1"/>
              </a:buClr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3pPr>
            <a:lvl4pPr marL="0" indent="0">
              <a:buClr>
                <a:schemeClr val="accent1"/>
              </a:buClr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4pPr>
            <a:lvl5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E-mail</a:t>
            </a:r>
          </a:p>
          <a:p>
            <a:pPr lvl="0"/>
            <a:r>
              <a:rPr lang="en-GB" noProof="0" dirty="0"/>
              <a:t>Pho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E62551-30E4-4600-B929-F6ECB4616E68}"/>
              </a:ext>
            </a:extLst>
          </p:cNvPr>
          <p:cNvSpPr>
            <a:spLocks noGrp="1"/>
          </p:cNvSpPr>
          <p:nvPr userDrawn="1">
            <p:ph type="sldNum" sz="quarter" idx="82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142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0% PHOTO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ijdelijke aanduiding voor afbeelding 61">
            <a:extLst>
              <a:ext uri="{FF2B5EF4-FFF2-40B4-BE49-F238E27FC236}">
                <a16:creationId xmlns:a16="http://schemas.microsoft.com/office/drawing/2014/main" id="{AB28EF33-4F92-4324-9014-E976AAFD664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5" y="1434"/>
            <a:ext cx="12202750" cy="6856566"/>
          </a:xfrm>
          <a:prstGeom prst="rect">
            <a:avLst/>
          </a:prstGeom>
          <a:noFill/>
        </p:spPr>
        <p:txBody>
          <a:bodyPr wrap="square" lIns="5184000" bIns="162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3" y="547889"/>
            <a:ext cx="5397497" cy="3726497"/>
          </a:xfrm>
        </p:spPr>
        <p:txBody>
          <a:bodyPr anchor="b">
            <a:noAutofit/>
          </a:bodyPr>
          <a:lstStyle>
            <a:lvl1pPr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“Insert quote or </a:t>
            </a:r>
            <a:br>
              <a:rPr lang="en-GB" dirty="0"/>
            </a:br>
            <a:r>
              <a:rPr lang="en-GB" dirty="0"/>
              <a:t>short text here,</a:t>
            </a:r>
            <a:br>
              <a:rPr lang="en-GB" dirty="0"/>
            </a:br>
            <a:r>
              <a:rPr lang="en-GB" dirty="0"/>
              <a:t>max. 9 lines”</a:t>
            </a:r>
          </a:p>
        </p:txBody>
      </p:sp>
      <p:sp>
        <p:nvSpPr>
          <p:cNvPr id="69" name="Tijdelijke aanduiding voor tekst 6">
            <a:extLst>
              <a:ext uri="{FF2B5EF4-FFF2-40B4-BE49-F238E27FC236}">
                <a16:creationId xmlns:a16="http://schemas.microsoft.com/office/drawing/2014/main" id="{05F189A6-572C-44F8-968B-AD4531089EF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65388" y="4245586"/>
            <a:ext cx="540000" cy="28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1834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9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6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6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ijdelijke aanduiding voor afbeelding 61">
            <a:extLst>
              <a:ext uri="{FF2B5EF4-FFF2-40B4-BE49-F238E27FC236}">
                <a16:creationId xmlns:a16="http://schemas.microsoft.com/office/drawing/2014/main" id="{AB28EF33-4F92-4324-9014-E976AAFD664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5" y="1434"/>
            <a:ext cx="12202750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bIns="504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92055" y="1459099"/>
            <a:ext cx="7808400" cy="3938400"/>
          </a:xfrm>
          <a:solidFill>
            <a:schemeClr val="bg1"/>
          </a:solidFill>
          <a:effectLst>
            <a:outerShdw blurRad="101600" dist="177800" dir="2700000" algn="tl" rotWithShape="0">
              <a:schemeClr val="tx1">
                <a:alpha val="40000"/>
              </a:schemeClr>
            </a:outerShdw>
          </a:effectLst>
        </p:spPr>
        <p:txBody>
          <a:bodyPr lIns="2988000" bIns="0" anchor="ctr">
            <a:noAutofit/>
          </a:bodyPr>
          <a:lstStyle>
            <a:lvl1pPr algn="l">
              <a:defRPr sz="4800" b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Insert Chapter </a:t>
            </a:r>
            <a:br>
              <a:rPr lang="en-GB" dirty="0"/>
            </a:br>
            <a:r>
              <a:rPr lang="en-GB" dirty="0"/>
              <a:t>title here</a:t>
            </a:r>
          </a:p>
        </p:txBody>
      </p:sp>
      <p:sp>
        <p:nvSpPr>
          <p:cNvPr id="65" name="Tijdelijke aanduiding voor verticale tekst 2">
            <a:extLst>
              <a:ext uri="{FF2B5EF4-FFF2-40B4-BE49-F238E27FC236}">
                <a16:creationId xmlns:a16="http://schemas.microsoft.com/office/drawing/2014/main" id="{013CDD29-8E9F-473C-A289-F06022E0F463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2765111" y="2198911"/>
            <a:ext cx="2062921" cy="2458777"/>
          </a:xfrm>
        </p:spPr>
        <p:txBody>
          <a:bodyPr vert="horz" lIns="0" tIns="0" rIns="0" bIns="0" anchor="ctr"/>
          <a:lstStyle>
            <a:lvl1pPr marL="0" indent="0" algn="ctr">
              <a:buFontTx/>
              <a:buNone/>
              <a:defRPr sz="13800" b="1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95753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0%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FDB8D651-0F2C-4C76-97F6-5D0C504E118A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291600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on the icon below to add a video.</a:t>
            </a:r>
            <a:br>
              <a:rPr lang="en-GB" dirty="0"/>
            </a:b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9D962D0-8877-46E1-BB2F-3646255AC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11090275" cy="3280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6490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Afbeelding 58">
            <a:extLst>
              <a:ext uri="{FF2B5EF4-FFF2-40B4-BE49-F238E27FC236}">
                <a16:creationId xmlns:a16="http://schemas.microsoft.com/office/drawing/2014/main" id="{3694D4BE-2E29-4B2B-B13C-C30D38ABD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0846" y="1215090"/>
            <a:ext cx="8410305" cy="5035035"/>
          </a:xfrm>
          <a:prstGeom prst="rect">
            <a:avLst/>
          </a:prstGeom>
        </p:spPr>
      </p:pic>
      <p:sp>
        <p:nvSpPr>
          <p:cNvPr id="60" name="Rechthoek 59">
            <a:extLst>
              <a:ext uri="{FF2B5EF4-FFF2-40B4-BE49-F238E27FC236}">
                <a16:creationId xmlns:a16="http://schemas.microsoft.com/office/drawing/2014/main" id="{BED88CEC-9255-46BF-9779-E9F1B1BB4EE4}"/>
              </a:ext>
            </a:extLst>
          </p:cNvPr>
          <p:cNvSpPr/>
          <p:nvPr userDrawn="1"/>
        </p:nvSpPr>
        <p:spPr>
          <a:xfrm>
            <a:off x="2959101" y="1581308"/>
            <a:ext cx="6273800" cy="39243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GB" sz="16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BC596FD-0723-4CDE-8EB5-BD5EFB7A324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71" name="Tijdelijke aanduiding voor media 9">
            <a:extLst>
              <a:ext uri="{FF2B5EF4-FFF2-40B4-BE49-F238E27FC236}">
                <a16:creationId xmlns:a16="http://schemas.microsoft.com/office/drawing/2014/main" id="{F4A0FBF9-64CC-4906-B1FF-FF7399C948F6}"/>
              </a:ext>
            </a:extLst>
          </p:cNvPr>
          <p:cNvSpPr>
            <a:spLocks noGrp="1"/>
          </p:cNvSpPr>
          <p:nvPr userDrawn="1">
            <p:ph type="media" sz="quarter" idx="19" hasCustomPrompt="1"/>
          </p:nvPr>
        </p:nvSpPr>
        <p:spPr>
          <a:xfrm>
            <a:off x="2959101" y="1581608"/>
            <a:ext cx="6274800" cy="392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0" bIns="1620000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i="1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video.</a:t>
            </a:r>
            <a:br>
              <a:rPr lang="en-GB" dirty="0"/>
            </a:b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B090DB-3722-4F39-9BFE-130451EE33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836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VIDE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BC596FD-0723-4CDE-8EB5-BD5EFB7A324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0863" y="532006"/>
            <a:ext cx="5545137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pic>
        <p:nvPicPr>
          <p:cNvPr id="61" name="Afbeelding 60">
            <a:extLst>
              <a:ext uri="{FF2B5EF4-FFF2-40B4-BE49-F238E27FC236}">
                <a16:creationId xmlns:a16="http://schemas.microsoft.com/office/drawing/2014/main" id="{F74D9C62-891C-4541-AF08-E521256D5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511" y="1542298"/>
            <a:ext cx="5920771" cy="4566717"/>
          </a:xfrm>
          <a:prstGeom prst="rect">
            <a:avLst/>
          </a:prstGeom>
        </p:spPr>
      </p:pic>
      <p:sp>
        <p:nvSpPr>
          <p:cNvPr id="63" name="Tijdelijke aanduiding voor verticale tekst 2">
            <a:extLst>
              <a:ext uri="{FF2B5EF4-FFF2-40B4-BE49-F238E27FC236}">
                <a16:creationId xmlns:a16="http://schemas.microsoft.com/office/drawing/2014/main" id="{5A4910D0-744A-466B-BEA9-CE40D493038D}"/>
              </a:ext>
            </a:extLst>
          </p:cNvPr>
          <p:cNvSpPr>
            <a:spLocks noGrp="1"/>
          </p:cNvSpPr>
          <p:nvPr userDrawn="1">
            <p:ph type="body" orient="vert" idx="1" hasCustomPrompt="1"/>
          </p:nvPr>
        </p:nvSpPr>
        <p:spPr>
          <a:xfrm>
            <a:off x="550863" y="1125538"/>
            <a:ext cx="4590097" cy="5183187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</a:t>
            </a:r>
          </a:p>
        </p:txBody>
      </p:sp>
      <p:sp>
        <p:nvSpPr>
          <p:cNvPr id="67" name="Tijdelijke aanduiding voor media 9">
            <a:extLst>
              <a:ext uri="{FF2B5EF4-FFF2-40B4-BE49-F238E27FC236}">
                <a16:creationId xmlns:a16="http://schemas.microsoft.com/office/drawing/2014/main" id="{F67AC4E5-0860-482F-A02C-A9A12B5B48F5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5816537" y="1844996"/>
            <a:ext cx="5322517" cy="30069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0" bIns="1620000" anchor="ctr" anchorCtr="0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i="1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video.</a:t>
            </a:r>
            <a:br>
              <a:rPr lang="en-GB" dirty="0"/>
            </a:b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2B5BA6-662E-4123-B73C-FA7AA9C5A7F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577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 LOGO-SLIDE 6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Rechthoek 337">
            <a:extLst>
              <a:ext uri="{FF2B5EF4-FFF2-40B4-BE49-F238E27FC236}">
                <a16:creationId xmlns:a16="http://schemas.microsoft.com/office/drawing/2014/main" id="{521CAA44-D930-466A-A362-70DD704CE9DE}"/>
              </a:ext>
            </a:extLst>
          </p:cNvPr>
          <p:cNvSpPr/>
          <p:nvPr userDrawn="1"/>
        </p:nvSpPr>
        <p:spPr>
          <a:xfrm rot="5400000">
            <a:off x="3803702" y="-1552318"/>
            <a:ext cx="4606613" cy="122140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0B15B5-DF59-4E2E-A895-A5D1E870EE6B}"/>
              </a:ext>
            </a:extLst>
          </p:cNvPr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jdelijke aanduiding voor tekst 4">
            <a:extLst>
              <a:ext uri="{FF2B5EF4-FFF2-40B4-BE49-F238E27FC236}">
                <a16:creationId xmlns:a16="http://schemas.microsoft.com/office/drawing/2014/main" id="{44FE533C-4DC5-9830-595E-3321457792D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147942" y="4535843"/>
            <a:ext cx="3515211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Tijdelijke aanduiding voor tekst 4">
            <a:extLst>
              <a:ext uri="{FF2B5EF4-FFF2-40B4-BE49-F238E27FC236}">
                <a16:creationId xmlns:a16="http://schemas.microsoft.com/office/drawing/2014/main" id="{87E60F63-A323-5321-45A7-ADA75EA903CC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349402" y="4535843"/>
            <a:ext cx="3515211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587B0B0D-7527-C049-DEA5-D5960FA3B3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50862" y="4535843"/>
            <a:ext cx="3515211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Tijdelijke aanduiding voor tekst 4">
            <a:extLst>
              <a:ext uri="{FF2B5EF4-FFF2-40B4-BE49-F238E27FC236}">
                <a16:creationId xmlns:a16="http://schemas.microsoft.com/office/drawing/2014/main" id="{6FB834AA-6F1F-7A7D-EF05-A0D9F868D03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25927" y="2487704"/>
            <a:ext cx="3515211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4" name="Tijdelijke aanduiding voor tekst 4">
            <a:extLst>
              <a:ext uri="{FF2B5EF4-FFF2-40B4-BE49-F238E27FC236}">
                <a16:creationId xmlns:a16="http://schemas.microsoft.com/office/drawing/2014/main" id="{5730A4A4-C58F-10E7-D098-3D52E193CB5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342332" y="2487704"/>
            <a:ext cx="3515211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8DF963B-42AE-9F69-9858-80DAF765075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50863" y="2487704"/>
            <a:ext cx="3515211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52" name="Tijdelijke aanduiding voor afbeelding 40">
            <a:extLst>
              <a:ext uri="{FF2B5EF4-FFF2-40B4-BE49-F238E27FC236}">
                <a16:creationId xmlns:a16="http://schemas.microsoft.com/office/drawing/2014/main" id="{D5C9A6DB-C07B-4F7F-83D8-F1ECE5C4A0AE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894150" y="5015843"/>
            <a:ext cx="1983124" cy="804759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51" name="Tijdelijke aanduiding voor afbeelding 40">
            <a:extLst>
              <a:ext uri="{FF2B5EF4-FFF2-40B4-BE49-F238E27FC236}">
                <a16:creationId xmlns:a16="http://schemas.microsoft.com/office/drawing/2014/main" id="{C84E49B5-044E-4350-92FC-2D44C198A05D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5105529" y="5015843"/>
            <a:ext cx="1983124" cy="804759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50" name="Tijdelijke aanduiding voor afbeelding 40">
            <a:extLst>
              <a:ext uri="{FF2B5EF4-FFF2-40B4-BE49-F238E27FC236}">
                <a16:creationId xmlns:a16="http://schemas.microsoft.com/office/drawing/2014/main" id="{345E5A41-1C1B-494B-A0F9-D0FC46465DEA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1316907" y="5015843"/>
            <a:ext cx="1983124" cy="804759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9" name="Tijdelijke aanduiding voor afbeelding 40">
            <a:extLst>
              <a:ext uri="{FF2B5EF4-FFF2-40B4-BE49-F238E27FC236}">
                <a16:creationId xmlns:a16="http://schemas.microsoft.com/office/drawing/2014/main" id="{D439934E-07F8-405D-B173-71AF0BE0D5E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894150" y="2971766"/>
            <a:ext cx="1983124" cy="804759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8" name="Tijdelijke aanduiding voor afbeelding 40">
            <a:extLst>
              <a:ext uri="{FF2B5EF4-FFF2-40B4-BE49-F238E27FC236}">
                <a16:creationId xmlns:a16="http://schemas.microsoft.com/office/drawing/2014/main" id="{72A1CBF3-3FBD-4B11-B844-B0820DCB3B57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5105528" y="2971766"/>
            <a:ext cx="1983124" cy="804759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7" name="Tijdelijke aanduiding voor afbeelding 40">
            <a:extLst>
              <a:ext uri="{FF2B5EF4-FFF2-40B4-BE49-F238E27FC236}">
                <a16:creationId xmlns:a16="http://schemas.microsoft.com/office/drawing/2014/main" id="{C1D6F27A-64EE-45F0-8861-F308D03875F7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1316907" y="2971766"/>
            <a:ext cx="1983124" cy="804759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40" name="Tijdelijke aanduiding voor verticale tekst 2">
            <a:extLst>
              <a:ext uri="{FF2B5EF4-FFF2-40B4-BE49-F238E27FC236}">
                <a16:creationId xmlns:a16="http://schemas.microsoft.com/office/drawing/2014/main" id="{D84E0180-B00D-4D8F-A438-1FA408B81AA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1125538"/>
            <a:ext cx="11090275" cy="1125848"/>
          </a:xfrm>
        </p:spPr>
        <p:txBody>
          <a:bodyPr vert="horz" lIns="0" tIns="0" rIns="0" bIns="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ctr"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</p:txBody>
      </p:sp>
      <p:grpSp>
        <p:nvGrpSpPr>
          <p:cNvPr id="2" name="Connell_Caldic_Logo">
            <a:extLst>
              <a:ext uri="{FF2B5EF4-FFF2-40B4-BE49-F238E27FC236}">
                <a16:creationId xmlns:a16="http://schemas.microsoft.com/office/drawing/2014/main" id="{CDC0DCA8-F1BE-F08A-E10E-8B15722E977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3211C0D2-1215-DC35-401A-7C7A3D309F41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F3309E87-6D22-398E-424E-BC14C8D74908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58F58D91-A8E1-6E5E-87D3-B943103861E9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C54F9ED8-057C-6B10-1706-E63AD28AAF0D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F99CF873-4DF1-1845-8F84-865531EB29B1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2F50C9D2-DF53-F50E-4D47-192040E8F70F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0016C503-C013-3E0D-9AB9-C6D837757617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6A509DBB-5A11-D777-5FEB-CCC806F36C2C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B03DB890-209E-14BE-5F34-E758EFB0B313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229B01AB-4F96-291B-FD85-7E243A9DC9BA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A6A64359-FAAD-2962-FD88-458B81720B9B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9" name="Vrije vorm: vorm 38">
              <a:extLst>
                <a:ext uri="{FF2B5EF4-FFF2-40B4-BE49-F238E27FC236}">
                  <a16:creationId xmlns:a16="http://schemas.microsoft.com/office/drawing/2014/main" id="{E3DD8DAF-05B8-2689-47E3-B1C3318996E3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40" name="Vrije vorm: vorm 39">
              <a:extLst>
                <a:ext uri="{FF2B5EF4-FFF2-40B4-BE49-F238E27FC236}">
                  <a16:creationId xmlns:a16="http://schemas.microsoft.com/office/drawing/2014/main" id="{7849F8E8-BDD6-E14A-AF3C-EC0B5DD6B496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41" name="Vrije vorm: vorm 40">
              <a:extLst>
                <a:ext uri="{FF2B5EF4-FFF2-40B4-BE49-F238E27FC236}">
                  <a16:creationId xmlns:a16="http://schemas.microsoft.com/office/drawing/2014/main" id="{FAAF31F7-C4B9-B2E1-456C-1C49CEC78FF1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09F9872E-6301-DE9C-FB6A-3FD0B90E6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414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 LOGO-SLIDE 8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Rechthoek 261">
            <a:extLst>
              <a:ext uri="{FF2B5EF4-FFF2-40B4-BE49-F238E27FC236}">
                <a16:creationId xmlns:a16="http://schemas.microsoft.com/office/drawing/2014/main" id="{367E5412-5278-4B09-8652-9BC3814CC1E9}"/>
              </a:ext>
            </a:extLst>
          </p:cNvPr>
          <p:cNvSpPr/>
          <p:nvPr userDrawn="1"/>
        </p:nvSpPr>
        <p:spPr>
          <a:xfrm rot="5400000">
            <a:off x="3792693" y="-1541306"/>
            <a:ext cx="4606613" cy="121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722B6D-9C0C-4ED7-B397-A34ED25F2DF6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Tijdelijke aanduiding voor tekst 4">
            <a:extLst>
              <a:ext uri="{FF2B5EF4-FFF2-40B4-BE49-F238E27FC236}">
                <a16:creationId xmlns:a16="http://schemas.microsoft.com/office/drawing/2014/main" id="{45FCBA38-986D-059A-330C-015AD8CF518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0863" y="4531781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9" name="Tijdelijke aanduiding voor tekst 4">
            <a:extLst>
              <a:ext uri="{FF2B5EF4-FFF2-40B4-BE49-F238E27FC236}">
                <a16:creationId xmlns:a16="http://schemas.microsoft.com/office/drawing/2014/main" id="{23E90796-0FE4-AC58-4F7A-F894C25A977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397594" y="4531781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0" name="Tijdelijke aanduiding voor tekst 4">
            <a:extLst>
              <a:ext uri="{FF2B5EF4-FFF2-40B4-BE49-F238E27FC236}">
                <a16:creationId xmlns:a16="http://schemas.microsoft.com/office/drawing/2014/main" id="{E4C90B56-5039-8619-B5C5-0FBBFD9A4BC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2271" y="4531781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5" name="Tijdelijke aanduiding voor tekst 4">
            <a:extLst>
              <a:ext uri="{FF2B5EF4-FFF2-40B4-BE49-F238E27FC236}">
                <a16:creationId xmlns:a16="http://schemas.microsoft.com/office/drawing/2014/main" id="{D839CFDC-0E1D-4AE3-C4C2-A40BCA00918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396566" y="2487704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6" name="Tijdelijke aanduiding voor tekst 4">
            <a:extLst>
              <a:ext uri="{FF2B5EF4-FFF2-40B4-BE49-F238E27FC236}">
                <a16:creationId xmlns:a16="http://schemas.microsoft.com/office/drawing/2014/main" id="{847F9F28-F162-CAF8-8218-9BD89C024E7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271" y="2487704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1" name="Tijdelijke aanduiding voor tekst 4">
            <a:extLst>
              <a:ext uri="{FF2B5EF4-FFF2-40B4-BE49-F238E27FC236}">
                <a16:creationId xmlns:a16="http://schemas.microsoft.com/office/drawing/2014/main" id="{AF3DAC5F-CE4E-D342-5805-E8312C80D11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087977" y="4531781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7" name="Tijdelijke aanduiding voor tekst 4">
            <a:extLst>
              <a:ext uri="{FF2B5EF4-FFF2-40B4-BE49-F238E27FC236}">
                <a16:creationId xmlns:a16="http://schemas.microsoft.com/office/drawing/2014/main" id="{0FFC3F70-CA99-DAA1-AF30-574B9981202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087977" y="2487704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jdelijke aanduiding voor tekst 4">
            <a:extLst>
              <a:ext uri="{FF2B5EF4-FFF2-40B4-BE49-F238E27FC236}">
                <a16:creationId xmlns:a16="http://schemas.microsoft.com/office/drawing/2014/main" id="{502FAAAC-DCC9-14B4-7524-0BD7A4C0801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50863" y="2487704"/>
            <a:ext cx="2553427" cy="177288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52" name="Tijdelijke aanduiding voor afbeelding 40">
            <a:extLst>
              <a:ext uri="{FF2B5EF4-FFF2-40B4-BE49-F238E27FC236}">
                <a16:creationId xmlns:a16="http://schemas.microsoft.com/office/drawing/2014/main" id="{D5C9A6DB-C07B-4F7F-83D8-F1ECE5C4A0AE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9373643" y="5015843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59" name="Tijdelijke aanduiding voor afbeelding 40">
            <a:extLst>
              <a:ext uri="{FF2B5EF4-FFF2-40B4-BE49-F238E27FC236}">
                <a16:creationId xmlns:a16="http://schemas.microsoft.com/office/drawing/2014/main" id="{5378C4B9-B0D8-4945-9F3B-A0E5C528EA2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527937" y="5015843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51" name="Tijdelijke aanduiding voor afbeelding 40">
            <a:extLst>
              <a:ext uri="{FF2B5EF4-FFF2-40B4-BE49-F238E27FC236}">
                <a16:creationId xmlns:a16="http://schemas.microsoft.com/office/drawing/2014/main" id="{C84E49B5-044E-4350-92FC-2D44C198A05D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682232" y="5015843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50" name="Tijdelijke aanduiding voor afbeelding 40">
            <a:extLst>
              <a:ext uri="{FF2B5EF4-FFF2-40B4-BE49-F238E27FC236}">
                <a16:creationId xmlns:a16="http://schemas.microsoft.com/office/drawing/2014/main" id="{345E5A41-1C1B-494B-A0F9-D0FC46465DEA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36014" y="5015843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9" name="Tijdelijke aanduiding voor afbeelding 40">
            <a:extLst>
              <a:ext uri="{FF2B5EF4-FFF2-40B4-BE49-F238E27FC236}">
                <a16:creationId xmlns:a16="http://schemas.microsoft.com/office/drawing/2014/main" id="{D439934E-07F8-405D-B173-71AF0BE0D5E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9373643" y="2971766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60" name="Tijdelijke aanduiding voor afbeelding 40">
            <a:extLst>
              <a:ext uri="{FF2B5EF4-FFF2-40B4-BE49-F238E27FC236}">
                <a16:creationId xmlns:a16="http://schemas.microsoft.com/office/drawing/2014/main" id="{D94E6486-1ABD-43B7-8FD9-2B7870DAED85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527937" y="2971766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8" name="Tijdelijke aanduiding voor afbeelding 40">
            <a:extLst>
              <a:ext uri="{FF2B5EF4-FFF2-40B4-BE49-F238E27FC236}">
                <a16:creationId xmlns:a16="http://schemas.microsoft.com/office/drawing/2014/main" id="{72A1CBF3-3FBD-4B11-B844-B0820DCB3B57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682232" y="2971766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7" name="Tijdelijke aanduiding voor afbeelding 40">
            <a:extLst>
              <a:ext uri="{FF2B5EF4-FFF2-40B4-BE49-F238E27FC236}">
                <a16:creationId xmlns:a16="http://schemas.microsoft.com/office/drawing/2014/main" id="{C1D6F27A-64EE-45F0-8861-F308D03875F7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36014" y="2971766"/>
            <a:ext cx="1983124" cy="804759"/>
          </a:xfrm>
          <a:ln>
            <a:noFill/>
          </a:ln>
        </p:spPr>
        <p:txBody>
          <a:bodyPr bIns="504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40" name="Tijdelijke aanduiding voor verticale tekst 2">
            <a:extLst>
              <a:ext uri="{FF2B5EF4-FFF2-40B4-BE49-F238E27FC236}">
                <a16:creationId xmlns:a16="http://schemas.microsoft.com/office/drawing/2014/main" id="{D84E0180-B00D-4D8F-A438-1FA408B81AA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1125538"/>
            <a:ext cx="11090275" cy="1125849"/>
          </a:xfrm>
        </p:spPr>
        <p:txBody>
          <a:bodyPr vert="horz" lIns="0" tIns="0" rIns="0" bIns="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ctr"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11090275" cy="328039"/>
          </a:xfrm>
        </p:spPr>
        <p:txBody>
          <a:bodyPr/>
          <a:lstStyle>
            <a:lvl1pPr algn="l"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grpSp>
        <p:nvGrpSpPr>
          <p:cNvPr id="8" name="Connell_Caldic_Logo">
            <a:extLst>
              <a:ext uri="{FF2B5EF4-FFF2-40B4-BE49-F238E27FC236}">
                <a16:creationId xmlns:a16="http://schemas.microsoft.com/office/drawing/2014/main" id="{F91BC6CC-28F9-2C67-6454-D91C957EF7C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D67496CC-17E6-11CE-107D-3D0B0F658E65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6A35CD6B-0E1A-1132-586B-04C31C277E5B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4186C5F7-9273-0B47-4B64-2ADF7F2151AE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F87E8103-638F-4D0F-4044-D4A548F74239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4FB2B9B6-534E-CA96-0031-A0745C2F0BAB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A31ECF16-5C4F-79CA-872A-F0749C773EF5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C7473E63-63C8-4D01-A05F-15AB4B6A59B9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1555242C-6489-FB1E-9154-B6BC9D7FB4E3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87E79DD0-0F96-FB5E-4D9D-6A4308086455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E223D981-C2B7-A2FF-D1F7-F60A814FEFCD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0268E28A-1D72-B246-54B2-449EB421C06A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E656EB3C-9C43-A0BF-EF6A-813BB2167A72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C541A007-C939-BE3A-612F-8B06B325D4FC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5" name="Vrije vorm: vorm 34">
              <a:extLst>
                <a:ext uri="{FF2B5EF4-FFF2-40B4-BE49-F238E27FC236}">
                  <a16:creationId xmlns:a16="http://schemas.microsoft.com/office/drawing/2014/main" id="{C91E821D-0CAE-9291-139B-F22FE2A9ED11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81228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 LOGO-SLIDE 1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Rechthoek 261">
            <a:extLst>
              <a:ext uri="{FF2B5EF4-FFF2-40B4-BE49-F238E27FC236}">
                <a16:creationId xmlns:a16="http://schemas.microsoft.com/office/drawing/2014/main" id="{367E5412-5278-4B09-8652-9BC3814CC1E9}"/>
              </a:ext>
            </a:extLst>
          </p:cNvPr>
          <p:cNvSpPr/>
          <p:nvPr userDrawn="1"/>
        </p:nvSpPr>
        <p:spPr>
          <a:xfrm rot="5400000">
            <a:off x="3240580" y="-2115439"/>
            <a:ext cx="5732856" cy="122140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69F2D2-32AD-4E43-9857-7B6127834AC8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ijdelijke aanduiding voor tekst 4">
            <a:extLst>
              <a:ext uri="{FF2B5EF4-FFF2-40B4-BE49-F238E27FC236}">
                <a16:creationId xmlns:a16="http://schemas.microsoft.com/office/drawing/2014/main" id="{53D2A3D3-2919-443C-846F-ABABEDA4C17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550861" y="4956677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3" name="Tijdelijke aanduiding voor tekst 4">
            <a:extLst>
              <a:ext uri="{FF2B5EF4-FFF2-40B4-BE49-F238E27FC236}">
                <a16:creationId xmlns:a16="http://schemas.microsoft.com/office/drawing/2014/main" id="{DD13A3F7-2BAF-116B-5B54-6DD465A5AFE6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396566" y="4956677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4" name="Tijdelijke aanduiding voor tekst 4">
            <a:extLst>
              <a:ext uri="{FF2B5EF4-FFF2-40B4-BE49-F238E27FC236}">
                <a16:creationId xmlns:a16="http://schemas.microsoft.com/office/drawing/2014/main" id="{20DF5B7D-D315-0D14-1772-3C5B945F8314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242269" y="4956677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Tijdelijke aanduiding voor tekst 4">
            <a:extLst>
              <a:ext uri="{FF2B5EF4-FFF2-40B4-BE49-F238E27FC236}">
                <a16:creationId xmlns:a16="http://schemas.microsoft.com/office/drawing/2014/main" id="{F272A847-6A8E-A39C-6313-B1E116BE75F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0861" y="3288463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9" name="Tijdelijke aanduiding voor tekst 4">
            <a:extLst>
              <a:ext uri="{FF2B5EF4-FFF2-40B4-BE49-F238E27FC236}">
                <a16:creationId xmlns:a16="http://schemas.microsoft.com/office/drawing/2014/main" id="{1A8FA200-58E5-45D0-C95D-51212E8B8E7C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396566" y="3288463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0" name="Tijdelijke aanduiding voor tekst 4">
            <a:extLst>
              <a:ext uri="{FF2B5EF4-FFF2-40B4-BE49-F238E27FC236}">
                <a16:creationId xmlns:a16="http://schemas.microsoft.com/office/drawing/2014/main" id="{B780EA46-692F-5351-53E5-31D86E31B88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42269" y="3288463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5" name="Tijdelijke aanduiding voor tekst 4">
            <a:extLst>
              <a:ext uri="{FF2B5EF4-FFF2-40B4-BE49-F238E27FC236}">
                <a16:creationId xmlns:a16="http://schemas.microsoft.com/office/drawing/2014/main" id="{16D3C0F8-3127-B036-63F9-A72863FA16FA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087973" y="4956677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1" name="Tijdelijke aanduiding voor tekst 4">
            <a:extLst>
              <a:ext uri="{FF2B5EF4-FFF2-40B4-BE49-F238E27FC236}">
                <a16:creationId xmlns:a16="http://schemas.microsoft.com/office/drawing/2014/main" id="{B04BA779-D4A3-F8B8-BBA4-545D4AB827D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087973" y="3288463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5" name="Tijdelijke aanduiding voor tekst 4">
            <a:extLst>
              <a:ext uri="{FF2B5EF4-FFF2-40B4-BE49-F238E27FC236}">
                <a16:creationId xmlns:a16="http://schemas.microsoft.com/office/drawing/2014/main" id="{CBF09074-B6DA-9D76-0ADC-C03814D0EB57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397593" y="1594611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6" name="Tijdelijke aanduiding voor tekst 4">
            <a:extLst>
              <a:ext uri="{FF2B5EF4-FFF2-40B4-BE49-F238E27FC236}">
                <a16:creationId xmlns:a16="http://schemas.microsoft.com/office/drawing/2014/main" id="{2989E89F-4183-7314-E45E-DD44E5A3C0CB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2269" y="1594611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7" name="Tijdelijke aanduiding voor tekst 4">
            <a:extLst>
              <a:ext uri="{FF2B5EF4-FFF2-40B4-BE49-F238E27FC236}">
                <a16:creationId xmlns:a16="http://schemas.microsoft.com/office/drawing/2014/main" id="{128C130C-FF7C-10F2-4D5F-B528BD2C1D6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087973" y="1594611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jdelijke aanduiding voor tekst 4">
            <a:extLst>
              <a:ext uri="{FF2B5EF4-FFF2-40B4-BE49-F238E27FC236}">
                <a16:creationId xmlns:a16="http://schemas.microsoft.com/office/drawing/2014/main" id="{9EFF0469-4050-8755-77E5-25384452A59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0863" y="1594611"/>
            <a:ext cx="2553427" cy="1347984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52" name="Tijdelijke aanduiding voor afbeelding 40">
            <a:extLst>
              <a:ext uri="{FF2B5EF4-FFF2-40B4-BE49-F238E27FC236}">
                <a16:creationId xmlns:a16="http://schemas.microsoft.com/office/drawing/2014/main" id="{D5C9A6DB-C07B-4F7F-83D8-F1ECE5C4A0AE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9373639" y="5182298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59" name="Tijdelijke aanduiding voor afbeelding 40">
            <a:extLst>
              <a:ext uri="{FF2B5EF4-FFF2-40B4-BE49-F238E27FC236}">
                <a16:creationId xmlns:a16="http://schemas.microsoft.com/office/drawing/2014/main" id="{5378C4B9-B0D8-4945-9F3B-A0E5C528EA2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527935" y="5182298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51" name="Tijdelijke aanduiding voor afbeelding 40">
            <a:extLst>
              <a:ext uri="{FF2B5EF4-FFF2-40B4-BE49-F238E27FC236}">
                <a16:creationId xmlns:a16="http://schemas.microsoft.com/office/drawing/2014/main" id="{C84E49B5-044E-4350-92FC-2D44C198A05D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682231" y="5182298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50" name="Tijdelijke aanduiding voor afbeelding 40">
            <a:extLst>
              <a:ext uri="{FF2B5EF4-FFF2-40B4-BE49-F238E27FC236}">
                <a16:creationId xmlns:a16="http://schemas.microsoft.com/office/drawing/2014/main" id="{345E5A41-1C1B-494B-A0F9-D0FC46465DEA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36014" y="5182298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9" name="Tijdelijke aanduiding voor afbeelding 40">
            <a:extLst>
              <a:ext uri="{FF2B5EF4-FFF2-40B4-BE49-F238E27FC236}">
                <a16:creationId xmlns:a16="http://schemas.microsoft.com/office/drawing/2014/main" id="{D439934E-07F8-405D-B173-71AF0BE0D5E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9373639" y="3514084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60" name="Tijdelijke aanduiding voor afbeelding 40">
            <a:extLst>
              <a:ext uri="{FF2B5EF4-FFF2-40B4-BE49-F238E27FC236}">
                <a16:creationId xmlns:a16="http://schemas.microsoft.com/office/drawing/2014/main" id="{D94E6486-1ABD-43B7-8FD9-2B7870DAED85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527935" y="3514084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8" name="Tijdelijke aanduiding voor afbeelding 40">
            <a:extLst>
              <a:ext uri="{FF2B5EF4-FFF2-40B4-BE49-F238E27FC236}">
                <a16:creationId xmlns:a16="http://schemas.microsoft.com/office/drawing/2014/main" id="{72A1CBF3-3FBD-4B11-B844-B0820DCB3B57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682231" y="3514084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367" name="Tijdelijke aanduiding voor afbeelding 40">
            <a:extLst>
              <a:ext uri="{FF2B5EF4-FFF2-40B4-BE49-F238E27FC236}">
                <a16:creationId xmlns:a16="http://schemas.microsoft.com/office/drawing/2014/main" id="{C1D6F27A-64EE-45F0-8861-F308D03875F7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36014" y="3514084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73" name="Tijdelijke aanduiding voor afbeelding 40">
            <a:extLst>
              <a:ext uri="{FF2B5EF4-FFF2-40B4-BE49-F238E27FC236}">
                <a16:creationId xmlns:a16="http://schemas.microsoft.com/office/drawing/2014/main" id="{579139F4-8852-4A9E-80BC-20521115627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373639" y="1820232"/>
            <a:ext cx="1983124" cy="896742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74" name="Tijdelijke aanduiding voor afbeelding 40">
            <a:extLst>
              <a:ext uri="{FF2B5EF4-FFF2-40B4-BE49-F238E27FC236}">
                <a16:creationId xmlns:a16="http://schemas.microsoft.com/office/drawing/2014/main" id="{E7028783-2B0D-4E08-A03C-AD5B7A3CAE4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527935" y="1820232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72" name="Tijdelijke aanduiding voor afbeelding 40">
            <a:extLst>
              <a:ext uri="{FF2B5EF4-FFF2-40B4-BE49-F238E27FC236}">
                <a16:creationId xmlns:a16="http://schemas.microsoft.com/office/drawing/2014/main" id="{52FCA248-2ED3-468A-9447-15C32F527AA9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682231" y="1820232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71" name="Tijdelijke aanduiding voor afbeelding 40">
            <a:extLst>
              <a:ext uri="{FF2B5EF4-FFF2-40B4-BE49-F238E27FC236}">
                <a16:creationId xmlns:a16="http://schemas.microsoft.com/office/drawing/2014/main" id="{A809FFD5-73BA-438E-AB80-F09AED16D3F0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836014" y="1820232"/>
            <a:ext cx="1983124" cy="896742"/>
          </a:xfrm>
          <a:ln>
            <a:noFill/>
          </a:ln>
        </p:spPr>
        <p:txBody>
          <a:bodyPr bIns="468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>
                <a:solidFill>
                  <a:srgbClr val="A6A6A6"/>
                </a:solidFill>
              </a:defRPr>
            </a:lvl1pPr>
          </a:lstStyle>
          <a:p>
            <a:r>
              <a:rPr lang="en-GB" dirty="0"/>
              <a:t>Add an image using the image library or </a:t>
            </a:r>
            <a:br>
              <a:rPr lang="en-GB" dirty="0"/>
            </a:br>
            <a:r>
              <a:rPr lang="en-GB" dirty="0"/>
              <a:t>paste / drop an image here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11090275" cy="328039"/>
          </a:xfrm>
        </p:spPr>
        <p:txBody>
          <a:bodyPr/>
          <a:lstStyle>
            <a:lvl1pPr algn="l"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grpSp>
        <p:nvGrpSpPr>
          <p:cNvPr id="8" name="Connell_Caldic_Logo">
            <a:extLst>
              <a:ext uri="{FF2B5EF4-FFF2-40B4-BE49-F238E27FC236}">
                <a16:creationId xmlns:a16="http://schemas.microsoft.com/office/drawing/2014/main" id="{D50EC9AB-E62C-3025-9F4E-00E9F4459F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E3A4E1AD-B9A6-17AA-CEEE-D28F25D87ED7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F9F14C8B-C2B0-3252-BEB8-21EB41F16E94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629F1184-41E7-152B-2503-AD9BD2215CA9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2D7ECD30-C5A0-61D3-B8A1-BBB15B511D21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264B7DE4-C548-1DAD-5F3C-3CE1CD3EF785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56A4AC27-DFCF-F260-0BC4-90CE475F1D40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65EA6BDC-2FD6-1035-3619-AD4C1DA7C987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F511F7DD-C43F-302B-F5E9-60BF89FD7BCB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132B8BDC-13CC-AAF5-8C0E-815E6370238E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5" name="Vrije vorm: vorm 34">
              <a:extLst>
                <a:ext uri="{FF2B5EF4-FFF2-40B4-BE49-F238E27FC236}">
                  <a16:creationId xmlns:a16="http://schemas.microsoft.com/office/drawing/2014/main" id="{1576357D-2C72-995E-BD64-EBFC82B61A82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6" name="Vrije vorm: vorm 35">
              <a:extLst>
                <a:ext uri="{FF2B5EF4-FFF2-40B4-BE49-F238E27FC236}">
                  <a16:creationId xmlns:a16="http://schemas.microsoft.com/office/drawing/2014/main" id="{DEDC3CCF-A4F6-4032-6D05-E7BE31876556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7" name="Vrije vorm: vorm 36">
              <a:extLst>
                <a:ext uri="{FF2B5EF4-FFF2-40B4-BE49-F238E27FC236}">
                  <a16:creationId xmlns:a16="http://schemas.microsoft.com/office/drawing/2014/main" id="{77A1B89E-F8CE-C947-3F7D-F15C72E5638A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8" name="Vrije vorm: vorm 37">
              <a:extLst>
                <a:ext uri="{FF2B5EF4-FFF2-40B4-BE49-F238E27FC236}">
                  <a16:creationId xmlns:a16="http://schemas.microsoft.com/office/drawing/2014/main" id="{1713D4AB-9E13-727F-AEC5-9D4B30C01BEB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39" name="Vrije vorm: vorm 38">
              <a:extLst>
                <a:ext uri="{FF2B5EF4-FFF2-40B4-BE49-F238E27FC236}">
                  <a16:creationId xmlns:a16="http://schemas.microsoft.com/office/drawing/2014/main" id="{557BD5BF-6DFB-3E4C-B13F-62C293247B2F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2771099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GRAPH, 5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Rechthoek 242">
            <a:extLst>
              <a:ext uri="{FF2B5EF4-FFF2-40B4-BE49-F238E27FC236}">
                <a16:creationId xmlns:a16="http://schemas.microsoft.com/office/drawing/2014/main" id="{7BCB044B-FD25-4412-BFCE-E3D7696FD6CF}"/>
              </a:ext>
            </a:extLst>
          </p:cNvPr>
          <p:cNvSpPr/>
          <p:nvPr userDrawn="1"/>
        </p:nvSpPr>
        <p:spPr>
          <a:xfrm rot="5400000">
            <a:off x="5708857" y="387146"/>
            <a:ext cx="6870286" cy="609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ijdelijke aanduiding voor grafiek 12"/>
          <p:cNvSpPr>
            <a:spLocks noGrp="1"/>
          </p:cNvSpPr>
          <p:nvPr>
            <p:ph type="chart" sz="quarter" idx="14" hasCustomPrompt="1"/>
          </p:nvPr>
        </p:nvSpPr>
        <p:spPr>
          <a:xfrm>
            <a:off x="550863" y="1125538"/>
            <a:ext cx="5294036" cy="5183187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graph.</a:t>
            </a:r>
            <a:br>
              <a:rPr lang="en-GB" dirty="0"/>
            </a:b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C565251-29C9-4F69-A971-D345F75AB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11090275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158" name="Tijdelijke aanduiding voor verticale tekst 2">
            <a:extLst>
              <a:ext uri="{FF2B5EF4-FFF2-40B4-BE49-F238E27FC236}">
                <a16:creationId xmlns:a16="http://schemas.microsoft.com/office/drawing/2014/main" id="{0A9F2C19-35B9-44B2-95DA-5E2EA8E91BE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557515" y="1125538"/>
            <a:ext cx="5083622" cy="5183187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DF71AE-0593-4CF1-A49B-5499729A3C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4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53">
            <a:extLst>
              <a:ext uri="{FF2B5EF4-FFF2-40B4-BE49-F238E27FC236}">
                <a16:creationId xmlns:a16="http://schemas.microsoft.com/office/drawing/2014/main" id="{859A2B88-D98D-41A5-B93B-62079CD509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6566"/>
          </a:xfrm>
          <a:prstGeom prst="rect">
            <a:avLst/>
          </a:prstGeom>
          <a:noFill/>
        </p:spPr>
        <p:txBody>
          <a:bodyPr wrap="square" bIns="162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paste / drop an image here.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38E196F7-3159-4F76-AFD4-91CD28F545FD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550863" y="3127673"/>
            <a:ext cx="4358649" cy="2738973"/>
          </a:xfrm>
          <a:prstGeom prst="snip1Rect">
            <a:avLst/>
          </a:prstGeom>
          <a:solidFill>
            <a:schemeClr val="accent1"/>
          </a:solidFill>
        </p:spPr>
        <p:txBody>
          <a:bodyPr vert="horz" lIns="0" tIns="0" rIns="0" bIns="0"/>
          <a:lstStyle>
            <a:lvl1pPr marL="0" indent="0">
              <a:buFontTx/>
              <a:buNone/>
              <a:defRPr sz="100" b="1">
                <a:solidFill>
                  <a:schemeClr val="accent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1"/>
              <a:t>.</a:t>
            </a:r>
          </a:p>
        </p:txBody>
      </p:sp>
      <p:sp>
        <p:nvSpPr>
          <p:cNvPr id="2" name="Tijdelijke aanduiding voor tekst 412">
            <a:extLst>
              <a:ext uri="{FF2B5EF4-FFF2-40B4-BE49-F238E27FC236}">
                <a16:creationId xmlns:a16="http://schemas.microsoft.com/office/drawing/2014/main" id="{1DAA9C20-C7B1-18E0-8C00-55DAE38D7A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863" y="4554904"/>
            <a:ext cx="3782648" cy="198000"/>
          </a:xfrm>
        </p:spPr>
        <p:txBody>
          <a:bodyPr anchor="ctr"/>
          <a:lstStyle>
            <a:lvl1pPr marL="0" indent="0">
              <a:lnSpc>
                <a:spcPct val="80000"/>
              </a:lnSpc>
              <a:buNone/>
              <a:defRPr sz="10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3" name="Titel 5">
            <a:extLst>
              <a:ext uri="{FF2B5EF4-FFF2-40B4-BE49-F238E27FC236}">
                <a16:creationId xmlns:a16="http://schemas.microsoft.com/office/drawing/2014/main" id="{A5D60CC2-210F-CE0E-11F3-62E5AA0F4E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62" y="3582457"/>
            <a:ext cx="3782649" cy="670711"/>
          </a:xfrm>
        </p:spPr>
        <p:txBody>
          <a:bodyPr rIns="36000" anchor="ctr">
            <a:noAutofit/>
          </a:bodyPr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[Insert title]</a:t>
            </a:r>
            <a:br>
              <a:rPr lang="en-GB" noProof="0" dirty="0"/>
            </a:br>
            <a:r>
              <a:rPr lang="en-GB" noProof="0" dirty="0"/>
              <a:t>(SEGMENT)</a:t>
            </a:r>
          </a:p>
        </p:txBody>
      </p:sp>
      <p:sp>
        <p:nvSpPr>
          <p:cNvPr id="22" name="Tijdelijke aanduiding voor tekst 59">
            <a:extLst>
              <a:ext uri="{FF2B5EF4-FFF2-40B4-BE49-F238E27FC236}">
                <a16:creationId xmlns:a16="http://schemas.microsoft.com/office/drawing/2014/main" id="{1066D7CE-6D73-12D4-CBAA-7969E39C489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02864" y="5315847"/>
            <a:ext cx="2700000" cy="298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nl-NL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4576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hoek 72">
            <a:extLst>
              <a:ext uri="{FF2B5EF4-FFF2-40B4-BE49-F238E27FC236}">
                <a16:creationId xmlns:a16="http://schemas.microsoft.com/office/drawing/2014/main" id="{BEC5630D-7B37-49E7-B4B1-CE2D76DB22B9}"/>
              </a:ext>
            </a:extLst>
          </p:cNvPr>
          <p:cNvSpPr/>
          <p:nvPr userDrawn="1"/>
        </p:nvSpPr>
        <p:spPr>
          <a:xfrm rot="5400000">
            <a:off x="4644570" y="-4644570"/>
            <a:ext cx="2902860" cy="121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F11307-4D5A-40F7-8170-1576AD1AFD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165" y="532006"/>
            <a:ext cx="11086917" cy="328039"/>
          </a:xfr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69" name="Tijdelijke aanduiding voor grafiek 12">
            <a:extLst>
              <a:ext uri="{FF2B5EF4-FFF2-40B4-BE49-F238E27FC236}">
                <a16:creationId xmlns:a16="http://schemas.microsoft.com/office/drawing/2014/main" id="{F263AB8B-2FB7-4E86-AA31-DD201BCC9F06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550863" y="3197693"/>
            <a:ext cx="3476998" cy="3111029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graph.</a:t>
            </a:r>
            <a:br>
              <a:rPr lang="en-GB" dirty="0"/>
            </a:br>
            <a:endParaRPr lang="en-GB" dirty="0"/>
          </a:p>
        </p:txBody>
      </p:sp>
      <p:sp>
        <p:nvSpPr>
          <p:cNvPr id="74" name="Rechthoek 73">
            <a:extLst>
              <a:ext uri="{FF2B5EF4-FFF2-40B4-BE49-F238E27FC236}">
                <a16:creationId xmlns:a16="http://schemas.microsoft.com/office/drawing/2014/main" id="{7417E9C4-7F04-450C-9FCE-256C88E6A677}"/>
              </a:ext>
            </a:extLst>
          </p:cNvPr>
          <p:cNvSpPr>
            <a:spLocks/>
          </p:cNvSpPr>
          <p:nvPr userDrawn="1"/>
        </p:nvSpPr>
        <p:spPr>
          <a:xfrm>
            <a:off x="550918" y="831792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3" name="Tijdelijke aanduiding voor grafiek 12">
            <a:extLst>
              <a:ext uri="{FF2B5EF4-FFF2-40B4-BE49-F238E27FC236}">
                <a16:creationId xmlns:a16="http://schemas.microsoft.com/office/drawing/2014/main" id="{5CFF7CFB-BCAC-4373-86CF-103C1CEF0943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59285" y="3197693"/>
            <a:ext cx="3476998" cy="3111029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graph.</a:t>
            </a:r>
            <a:br>
              <a:rPr lang="en-GB" dirty="0"/>
            </a:br>
            <a:endParaRPr lang="en-GB" dirty="0"/>
          </a:p>
        </p:txBody>
      </p:sp>
      <p:sp>
        <p:nvSpPr>
          <p:cNvPr id="94" name="Tijdelijke aanduiding voor grafiek 12">
            <a:extLst>
              <a:ext uri="{FF2B5EF4-FFF2-40B4-BE49-F238E27FC236}">
                <a16:creationId xmlns:a16="http://schemas.microsoft.com/office/drawing/2014/main" id="{C869072E-5849-42C8-B12B-85A893B61898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8167708" y="3197693"/>
            <a:ext cx="3476998" cy="3111029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graph.</a:t>
            </a:r>
            <a:br>
              <a:rPr lang="en-GB" dirty="0"/>
            </a:br>
            <a:endParaRPr lang="en-GB" dirty="0"/>
          </a:p>
        </p:txBody>
      </p:sp>
      <p:sp>
        <p:nvSpPr>
          <p:cNvPr id="96" name="Tijdelijke aanduiding voor verticale tekst 2">
            <a:extLst>
              <a:ext uri="{FF2B5EF4-FFF2-40B4-BE49-F238E27FC236}">
                <a16:creationId xmlns:a16="http://schemas.microsoft.com/office/drawing/2014/main" id="{BA3F9B39-0E4A-42A1-AC6F-DBC3A09DBB6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1125538"/>
            <a:ext cx="11090275" cy="1353046"/>
          </a:xfrm>
        </p:spPr>
        <p:txBody>
          <a:bodyPr vert="horz" lIns="0" tIns="0" rIns="0" bIns="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ctr"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EEB3E2-E0AC-4C0F-9F51-39ED4647F14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236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GRAPH, 5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hthoek 158">
            <a:extLst>
              <a:ext uri="{FF2B5EF4-FFF2-40B4-BE49-F238E27FC236}">
                <a16:creationId xmlns:a16="http://schemas.microsoft.com/office/drawing/2014/main" id="{0A4A8804-6C87-41EC-B100-83D371022A9F}"/>
              </a:ext>
            </a:extLst>
          </p:cNvPr>
          <p:cNvSpPr/>
          <p:nvPr userDrawn="1"/>
        </p:nvSpPr>
        <p:spPr>
          <a:xfrm rot="5400000">
            <a:off x="-387143" y="387146"/>
            <a:ext cx="6870286" cy="609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3" name="Tijdelijke aanduiding voor grafiek 12"/>
          <p:cNvSpPr>
            <a:spLocks noGrp="1"/>
          </p:cNvSpPr>
          <p:nvPr>
            <p:ph type="chart" sz="quarter" idx="14" hasCustomPrompt="1"/>
          </p:nvPr>
        </p:nvSpPr>
        <p:spPr>
          <a:xfrm>
            <a:off x="6275457" y="535032"/>
            <a:ext cx="5195818" cy="2580627"/>
          </a:xfrm>
          <a:prstGeom prst="rect">
            <a:avLst/>
          </a:prstGeom>
          <a:noFill/>
          <a:ln>
            <a:noFill/>
          </a:ln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graph.</a:t>
            </a:r>
            <a:br>
              <a:rPr lang="en-GB" dirty="0"/>
            </a:br>
            <a:endParaRPr lang="en-GB" dirty="0"/>
          </a:p>
        </p:txBody>
      </p:sp>
      <p:sp>
        <p:nvSpPr>
          <p:cNvPr id="9" name="Tijdelijke aanduiding voor grafiek 12">
            <a:extLst>
              <a:ext uri="{FF2B5EF4-FFF2-40B4-BE49-F238E27FC236}">
                <a16:creationId xmlns:a16="http://schemas.microsoft.com/office/drawing/2014/main" id="{62E05040-3A8D-48F5-B38D-DB899E8D1932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275457" y="3766922"/>
            <a:ext cx="5195818" cy="2541802"/>
          </a:xfrm>
          <a:prstGeom prst="rect">
            <a:avLst/>
          </a:prstGeom>
          <a:noFill/>
          <a:ln>
            <a:noFill/>
          </a:ln>
        </p:spPr>
        <p:txBody>
          <a:bodyPr bIns="3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graph.</a:t>
            </a:r>
            <a:br>
              <a:rPr lang="en-GB" dirty="0"/>
            </a:b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8CBF46E-C89F-44E4-9C04-B1C78B9AC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5109289" cy="32803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dd a slide title, </a:t>
            </a:r>
            <a:r>
              <a:rPr lang="en-GB" noProof="0" dirty="0"/>
              <a:t>max. 1 line</a:t>
            </a:r>
            <a:endParaRPr lang="en-GB" dirty="0"/>
          </a:p>
        </p:txBody>
      </p:sp>
      <p:sp>
        <p:nvSpPr>
          <p:cNvPr id="243" name="Rechthoek 242">
            <a:extLst>
              <a:ext uri="{FF2B5EF4-FFF2-40B4-BE49-F238E27FC236}">
                <a16:creationId xmlns:a16="http://schemas.microsoft.com/office/drawing/2014/main" id="{37DD6E68-EA68-46DD-8965-D7FBCF629A88}"/>
              </a:ext>
            </a:extLst>
          </p:cNvPr>
          <p:cNvSpPr>
            <a:spLocks/>
          </p:cNvSpPr>
          <p:nvPr userDrawn="1"/>
        </p:nvSpPr>
        <p:spPr>
          <a:xfrm>
            <a:off x="550918" y="831792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5" name="Tijdelijke aanduiding voor verticale tekst 2">
            <a:extLst>
              <a:ext uri="{FF2B5EF4-FFF2-40B4-BE49-F238E27FC236}">
                <a16:creationId xmlns:a16="http://schemas.microsoft.com/office/drawing/2014/main" id="{A132EA01-8F5B-48D7-8C46-3DC01580E0CE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550863" y="1125538"/>
            <a:ext cx="5109289" cy="5183187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9328769-B306-4ED6-86D0-27A12E0AE9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Connell_Caldic_Logo">
            <a:extLst>
              <a:ext uri="{FF2B5EF4-FFF2-40B4-BE49-F238E27FC236}">
                <a16:creationId xmlns:a16="http://schemas.microsoft.com/office/drawing/2014/main" id="{86974B80-B6AF-AD0C-EE32-814E5345366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4AE88A33-9153-EA3A-F4ED-529F657E6FCA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DDDF3613-7BD9-EF51-AA67-8AE0389A796A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64AE4214-B892-3808-230D-49768462F4BD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D328585D-5F4A-2458-41A9-20364BF0FCB0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EF85B590-78FD-FF77-1811-FDE918BE196F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6FB9F8F5-38A7-6C2A-663F-67686633F12A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D43B7626-AEB1-A63C-4891-EDD1C7A80C09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B7E6C907-8D6A-C58D-6513-756423E413E4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57ABC196-F2A1-4240-D2F9-DAB45C55A426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15ED1B01-0FD1-5AB6-D657-7E7A37D24AAB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B6F310FC-1BF4-F05F-0609-5395230B38A9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DD4C9849-35D0-F084-9153-7A8EABE2A333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672F34B6-7B09-8A1B-AC9E-F75CB702F022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401AB4EA-74C2-8894-36F3-86BFB516F264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79540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C2C12-4C4E-4373-A184-5BABDE070C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11090275" cy="328039"/>
          </a:xfr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67" name="Tijdelijke aanduiding voor grafiek 12">
            <a:extLst>
              <a:ext uri="{FF2B5EF4-FFF2-40B4-BE49-F238E27FC236}">
                <a16:creationId xmlns:a16="http://schemas.microsoft.com/office/drawing/2014/main" id="{6B6F3A1F-4EF8-42C7-B17E-C79144FD9053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550863" y="2209314"/>
            <a:ext cx="11090275" cy="4096505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graph.</a:t>
            </a:r>
            <a:br>
              <a:rPr lang="en-GB" dirty="0"/>
            </a:br>
            <a:endParaRPr lang="en-GB" dirty="0"/>
          </a:p>
        </p:txBody>
      </p:sp>
      <p:sp>
        <p:nvSpPr>
          <p:cNvPr id="70" name="Tijdelijke aanduiding voor verticale tekst 2">
            <a:extLst>
              <a:ext uri="{FF2B5EF4-FFF2-40B4-BE49-F238E27FC236}">
                <a16:creationId xmlns:a16="http://schemas.microsoft.com/office/drawing/2014/main" id="{D58081CF-19C5-4A30-B185-86B6398BD09E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1125539"/>
            <a:ext cx="11090275" cy="822166"/>
          </a:xfrm>
        </p:spPr>
        <p:txBody>
          <a:bodyPr vert="horz" lIns="0" tIns="0" rIns="0" bIns="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ctr"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41E2FB-DEBD-4870-90C6-BB8777BF25D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356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TABLE, 5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Rechthoek 243">
            <a:extLst>
              <a:ext uri="{FF2B5EF4-FFF2-40B4-BE49-F238E27FC236}">
                <a16:creationId xmlns:a16="http://schemas.microsoft.com/office/drawing/2014/main" id="{68FC3BCD-F26B-40EA-9E63-A8DD622C90E8}"/>
              </a:ext>
            </a:extLst>
          </p:cNvPr>
          <p:cNvSpPr/>
          <p:nvPr userDrawn="1"/>
        </p:nvSpPr>
        <p:spPr>
          <a:xfrm>
            <a:off x="5043701" y="0"/>
            <a:ext cx="7148300" cy="685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5362533" y="1125538"/>
            <a:ext cx="6278605" cy="5183185"/>
          </a:xfr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table.</a:t>
            </a:r>
            <a:br>
              <a:rPr lang="en-GB" dirty="0"/>
            </a:b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23326B3-E8CC-49D5-9E02-8AB54F12DF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11090275" cy="32803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243" name="Tijdelijke aanduiding voor verticale tekst 2">
            <a:extLst>
              <a:ext uri="{FF2B5EF4-FFF2-40B4-BE49-F238E27FC236}">
                <a16:creationId xmlns:a16="http://schemas.microsoft.com/office/drawing/2014/main" id="{1DCE4A85-E551-4DF1-92F6-0A02BC29FA43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1125538"/>
            <a:ext cx="4161600" cy="5183184"/>
          </a:xfrm>
        </p:spPr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6202AE-D7CE-4504-BEEF-73C0E1E08D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0483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hthoek 57">
            <a:extLst>
              <a:ext uri="{FF2B5EF4-FFF2-40B4-BE49-F238E27FC236}">
                <a16:creationId xmlns:a16="http://schemas.microsoft.com/office/drawing/2014/main" id="{EA10A234-0B40-4C34-AEDD-9A5BF9A6F57E}"/>
              </a:ext>
            </a:extLst>
          </p:cNvPr>
          <p:cNvSpPr/>
          <p:nvPr userDrawn="1"/>
        </p:nvSpPr>
        <p:spPr>
          <a:xfrm rot="5400000">
            <a:off x="4697754" y="-4697753"/>
            <a:ext cx="2796491" cy="1219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ijdelijke aanduiding voor verticale tekst 2">
            <a:extLst>
              <a:ext uri="{FF2B5EF4-FFF2-40B4-BE49-F238E27FC236}">
                <a16:creationId xmlns:a16="http://schemas.microsoft.com/office/drawing/2014/main" id="{BAAFBA7C-096C-461D-9477-6C3758B1116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50863" y="1125539"/>
            <a:ext cx="11090275" cy="822166"/>
          </a:xfrm>
        </p:spPr>
        <p:txBody>
          <a:bodyPr vert="horz" lIns="0" tIns="0" rIns="0" bIns="0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ctr"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</p:txBody>
      </p:sp>
      <p:sp>
        <p:nvSpPr>
          <p:cNvPr id="51" name="Rechthoek 50">
            <a:extLst>
              <a:ext uri="{FF2B5EF4-FFF2-40B4-BE49-F238E27FC236}">
                <a16:creationId xmlns:a16="http://schemas.microsoft.com/office/drawing/2014/main" id="{5E3547AA-C38C-4ED6-A0D9-D56E458C50D4}"/>
              </a:ext>
            </a:extLst>
          </p:cNvPr>
          <p:cNvSpPr>
            <a:spLocks/>
          </p:cNvSpPr>
          <p:nvPr userDrawn="1"/>
        </p:nvSpPr>
        <p:spPr>
          <a:xfrm>
            <a:off x="550918" y="831792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9" name="Titel 38"/>
          <p:cNvSpPr>
            <a:spLocks noGrp="1"/>
          </p:cNvSpPr>
          <p:nvPr>
            <p:ph type="title" hasCustomPrompt="1"/>
          </p:nvPr>
        </p:nvSpPr>
        <p:spPr>
          <a:xfrm>
            <a:off x="550863" y="532006"/>
            <a:ext cx="11090219" cy="328039"/>
          </a:xfrm>
        </p:spPr>
        <p:txBody>
          <a:bodyPr/>
          <a:lstStyle>
            <a:lvl1pPr algn="l"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  <p:sp>
        <p:nvSpPr>
          <p:cNvPr id="47" name="Tijdelijke aanduiding voor tabel 8">
            <a:extLst>
              <a:ext uri="{FF2B5EF4-FFF2-40B4-BE49-F238E27FC236}">
                <a16:creationId xmlns:a16="http://schemas.microsoft.com/office/drawing/2014/main" id="{59B1665D-574B-4659-8C39-10F0304C2C51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550864" y="2213095"/>
            <a:ext cx="11090274" cy="4095627"/>
          </a:xfr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table.</a:t>
            </a:r>
            <a:br>
              <a:rPr lang="en-GB" dirty="0"/>
            </a:b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13DC31-C5ED-4000-BD28-A4482EA9A0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601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%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jdelijke aanduiding voor tabel 8">
            <a:extLst>
              <a:ext uri="{FF2B5EF4-FFF2-40B4-BE49-F238E27FC236}">
                <a16:creationId xmlns:a16="http://schemas.microsoft.com/office/drawing/2014/main" id="{59B1665D-574B-4659-8C39-10F0304C2C51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552451" y="1125539"/>
            <a:ext cx="11088687" cy="5183184"/>
          </a:xfr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below </a:t>
            </a:r>
            <a:br>
              <a:rPr lang="en-GB" dirty="0"/>
            </a:br>
            <a:r>
              <a:rPr lang="en-GB" dirty="0"/>
              <a:t>to add a table.</a:t>
            </a:r>
            <a:br>
              <a:rPr lang="en-GB" dirty="0"/>
            </a:b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ED83D7-19EE-4B88-8155-1C0A57B5C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451" y="532006"/>
            <a:ext cx="11088687" cy="328039"/>
          </a:xfrm>
        </p:spPr>
        <p:txBody>
          <a:bodyPr/>
          <a:lstStyle/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423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Website">
            <a:extLst>
              <a:ext uri="{FF2B5EF4-FFF2-40B4-BE49-F238E27FC236}">
                <a16:creationId xmlns:a16="http://schemas.microsoft.com/office/drawing/2014/main" id="{1379C1D4-47DE-B3A8-5F8A-97DED329BEF2}"/>
              </a:ext>
            </a:extLst>
          </p:cNvPr>
          <p:cNvSpPr/>
          <p:nvPr userDrawn="1"/>
        </p:nvSpPr>
        <p:spPr>
          <a:xfrm>
            <a:off x="4527664" y="4558571"/>
            <a:ext cx="408720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connellworld.com</a:t>
            </a:r>
            <a:endParaRPr lang="en-GB" sz="3200" b="1" dirty="0">
              <a:solidFill>
                <a:schemeClr val="tx1"/>
              </a:solidFill>
            </a:endParaRPr>
          </a:p>
        </p:txBody>
      </p:sp>
      <p:grpSp>
        <p:nvGrpSpPr>
          <p:cNvPr id="2" name="Connell_Caldic_Logo">
            <a:extLst>
              <a:ext uri="{FF2B5EF4-FFF2-40B4-BE49-F238E27FC236}">
                <a16:creationId xmlns:a16="http://schemas.microsoft.com/office/drawing/2014/main" id="{5D7BBC75-CE86-B592-C4EF-A87F9FB92F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415779" y="2909381"/>
            <a:ext cx="9363280" cy="1036800"/>
            <a:chOff x="2105971" y="6521396"/>
            <a:chExt cx="974041" cy="107856"/>
          </a:xfrm>
        </p:grpSpPr>
        <p:sp>
          <p:nvSpPr>
            <p:cNvPr id="3" name="Vrije vorm: vorm 2">
              <a:extLst>
                <a:ext uri="{FF2B5EF4-FFF2-40B4-BE49-F238E27FC236}">
                  <a16:creationId xmlns:a16="http://schemas.microsoft.com/office/drawing/2014/main" id="{2BEB837A-220C-A886-3434-6C4E163EEACB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4" name="Vrije vorm: vorm 3">
              <a:extLst>
                <a:ext uri="{FF2B5EF4-FFF2-40B4-BE49-F238E27FC236}">
                  <a16:creationId xmlns:a16="http://schemas.microsoft.com/office/drawing/2014/main" id="{C9B1A4E9-1D50-97E2-0BCA-B6C5AD2AA690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1F5842FE-9CA6-CAF2-97CA-089EC35C0AF2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1D705B73-B4CF-29B3-841D-B701C47841F7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6F5B65AD-38A1-9E29-9FDD-5F65DDBC4FB1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90644269-F4C9-DB1B-FF00-D846C1B226E0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6C3574F-0051-BA55-5B81-5E2797D8FE9C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9098AD00-5970-D5D7-7FA1-6E32B81CEF2B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228C424A-63EE-6BEC-AEC7-3A73A5E74A19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6B7A775B-2ACB-BF26-6475-DE436EE95E00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2E882403-DE3F-C973-64DF-12AF8A836C27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39736BC5-B555-A533-E448-CB0AB83F56A9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FEDACE33-8B2D-6D50-F555-02101FC97863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B4527CEA-532D-18E5-BF2A-21755C7FDC5A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1407141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9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53">
            <a:extLst>
              <a:ext uri="{FF2B5EF4-FFF2-40B4-BE49-F238E27FC236}">
                <a16:creationId xmlns:a16="http://schemas.microsoft.com/office/drawing/2014/main" id="{859A2B88-D98D-41A5-B93B-62079CD509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6566"/>
          </a:xfrm>
          <a:prstGeom prst="rect">
            <a:avLst/>
          </a:prstGeom>
          <a:noFill/>
        </p:spPr>
        <p:txBody>
          <a:bodyPr wrap="square" bIns="162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Add an image using the image library or paste / drop an image here.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E1647DF8-A498-0B8E-C643-A22C2D6FA65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2887200" cy="267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noProof="1"/>
              <a:t>Click to edit Master text styles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38E196F7-3159-4F76-AFD4-91CD28F545FD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550863" y="3127673"/>
            <a:ext cx="4358649" cy="2738973"/>
          </a:xfrm>
          <a:prstGeom prst="snip1Rect">
            <a:avLst/>
          </a:prstGeom>
          <a:solidFill>
            <a:schemeClr val="accent1"/>
          </a:solidFill>
        </p:spPr>
        <p:txBody>
          <a:bodyPr vert="horz" lIns="0" tIns="0" rIns="0" bIns="0"/>
          <a:lstStyle>
            <a:lvl1pPr marL="0" indent="0">
              <a:buFontTx/>
              <a:buNone/>
              <a:defRPr sz="100" b="1">
                <a:solidFill>
                  <a:schemeClr val="accent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802864" y="3548923"/>
            <a:ext cx="3854648" cy="1896472"/>
          </a:xfrm>
        </p:spPr>
        <p:txBody>
          <a:bodyPr rIns="36000" anchor="ctr">
            <a:noAutofit/>
          </a:bodyPr>
          <a:lstStyle>
            <a:lvl1pPr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[Insert title]</a:t>
            </a:r>
          </a:p>
        </p:txBody>
      </p:sp>
    </p:spTree>
    <p:extLst>
      <p:ext uri="{BB962C8B-B14F-4D97-AF65-F5344CB8AC3E}">
        <p14:creationId xmlns:p14="http://schemas.microsoft.com/office/powerpoint/2010/main" val="400723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A picture containing stationary, envelope, businesscard&#10;&#10;Description automatically generated">
            <a:extLst>
              <a:ext uri="{FF2B5EF4-FFF2-40B4-BE49-F238E27FC236}">
                <a16:creationId xmlns:a16="http://schemas.microsoft.com/office/drawing/2014/main" id="{42A6F829-81CD-36F1-1780-F0F4895CD4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6" t="32614"/>
          <a:stretch/>
        </p:blipFill>
        <p:spPr>
          <a:xfrm>
            <a:off x="-1" y="0"/>
            <a:ext cx="5013464" cy="4621320"/>
          </a:xfrm>
          <a:prstGeom prst="rect">
            <a:avLst/>
          </a:prstGeom>
        </p:spPr>
      </p:pic>
      <p:pic>
        <p:nvPicPr>
          <p:cNvPr id="6" name="Picture 25" descr="A picture containing text, businesscard, envelope&#10;&#10;Description automatically generated">
            <a:extLst>
              <a:ext uri="{FF2B5EF4-FFF2-40B4-BE49-F238E27FC236}">
                <a16:creationId xmlns:a16="http://schemas.microsoft.com/office/drawing/2014/main" id="{7EEE6536-73AB-192F-5FEC-770701F77E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" t="-1017" r="20164" b="33122"/>
          <a:stretch/>
        </p:blipFill>
        <p:spPr>
          <a:xfrm>
            <a:off x="6690510" y="2201781"/>
            <a:ext cx="5501490" cy="465621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72F8B3-FCA5-A102-6362-7EDE694A3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6615" y="3507896"/>
            <a:ext cx="8078771" cy="581504"/>
          </a:xfrm>
        </p:spPr>
        <p:txBody>
          <a:bodyPr anchor="ctr"/>
          <a:lstStyle>
            <a:lvl1pPr algn="ctr"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Insert chapter title here]</a:t>
            </a:r>
          </a:p>
        </p:txBody>
      </p:sp>
    </p:spTree>
    <p:extLst>
      <p:ext uri="{BB962C8B-B14F-4D97-AF65-F5344CB8AC3E}">
        <p14:creationId xmlns:p14="http://schemas.microsoft.com/office/powerpoint/2010/main" val="194727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550863" y="1131854"/>
            <a:ext cx="11088687" cy="5176871"/>
          </a:xfrm>
        </p:spPr>
        <p:txBody>
          <a:bodyPr/>
          <a:lstStyle>
            <a:lvl9pPr>
              <a:defRPr b="0"/>
            </a:lvl9pPr>
          </a:lstStyle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  <a:p>
            <a:pPr lv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F0EE52D-2D3F-1A31-8AC4-387FAEAC2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770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4B366E-D09F-4CEC-A90C-D4D6B415F9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Sub heading (optional)">
            <a:extLst>
              <a:ext uri="{FF2B5EF4-FFF2-40B4-BE49-F238E27FC236}">
                <a16:creationId xmlns:a16="http://schemas.microsoft.com/office/drawing/2014/main" id="{60B97A45-8008-46C2-B7C5-3061400481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218095"/>
            <a:ext cx="11090275" cy="2428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3pPr marL="285750" indent="-285750">
              <a:buFont typeface="Arial" panose="020B0604020202020204" pitchFamily="34" charset="0"/>
              <a:buChar char="•"/>
              <a:defRPr/>
            </a:lvl3pPr>
            <a:lvl4pPr marL="342900" indent="-342900">
              <a:buFont typeface="Arial" panose="020B0604020202020204" pitchFamily="34" charset="0"/>
              <a:buChar char="•"/>
              <a:defRPr/>
            </a:lvl4pPr>
            <a:lvl5pPr marL="2857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dirty="0"/>
              <a:t>Sub heading (optional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118E438-D875-D849-E340-D12F615650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070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BLEND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A picture containing stationary, envelope, businesscard&#10;&#10;Description automatically generated">
            <a:extLst>
              <a:ext uri="{FF2B5EF4-FFF2-40B4-BE49-F238E27FC236}">
                <a16:creationId xmlns:a16="http://schemas.microsoft.com/office/drawing/2014/main" id="{7E4CC3F4-F448-D147-F2C2-7C7C82BF69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8" t="66243" r="22610"/>
          <a:stretch/>
        </p:blipFill>
        <p:spPr>
          <a:xfrm rot="7395930">
            <a:off x="10039066" y="4930204"/>
            <a:ext cx="3695914" cy="1695086"/>
          </a:xfrm>
          <a:custGeom>
            <a:avLst/>
            <a:gdLst>
              <a:gd name="connsiteX0" fmla="*/ 0 w 3695914"/>
              <a:gd name="connsiteY0" fmla="*/ 1695086 h 1695086"/>
              <a:gd name="connsiteX1" fmla="*/ 2583911 w 3695914"/>
              <a:gd name="connsiteY1" fmla="*/ 0 h 1695086"/>
              <a:gd name="connsiteX2" fmla="*/ 3695914 w 3695914"/>
              <a:gd name="connsiteY2" fmla="*/ 1695086 h 1695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95914" h="1695086">
                <a:moveTo>
                  <a:pt x="0" y="1695086"/>
                </a:moveTo>
                <a:lnTo>
                  <a:pt x="2583911" y="0"/>
                </a:lnTo>
                <a:lnTo>
                  <a:pt x="3695914" y="1695086"/>
                </a:lnTo>
                <a:close/>
              </a:path>
            </a:pathLst>
          </a:cu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4B366E-D09F-4CEC-A90C-D4D6B415F9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22028" y="7020000"/>
            <a:ext cx="419110" cy="231068"/>
          </a:xfrm>
        </p:spPr>
        <p:txBody>
          <a:bodyPr/>
          <a:lstStyle>
            <a:lvl1pPr>
              <a:defRPr>
                <a:solidFill>
                  <a:srgbClr val="E6ECEF"/>
                </a:solidFill>
              </a:defRPr>
            </a:lvl1pPr>
          </a:lstStyle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Sub heading (optional)">
            <a:extLst>
              <a:ext uri="{FF2B5EF4-FFF2-40B4-BE49-F238E27FC236}">
                <a16:creationId xmlns:a16="http://schemas.microsoft.com/office/drawing/2014/main" id="{60B97A45-8008-46C2-B7C5-3061400481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218095"/>
            <a:ext cx="11090275" cy="2428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3pPr marL="285750" indent="-285750">
              <a:buFont typeface="Arial" panose="020B0604020202020204" pitchFamily="34" charset="0"/>
              <a:buChar char="•"/>
              <a:defRPr/>
            </a:lvl3pPr>
            <a:lvl4pPr marL="342900" indent="-342900">
              <a:buFont typeface="Arial" panose="020B0604020202020204" pitchFamily="34" charset="0"/>
              <a:buChar char="•"/>
              <a:defRPr/>
            </a:lvl4pPr>
            <a:lvl5pPr marL="2857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dirty="0"/>
              <a:t>Sub heading (optional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118E438-D875-D849-E340-D12F615650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9483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BLEND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 descr="A picture containing text, businesscard, envelope&#10;&#10;Description automatically generated">
            <a:extLst>
              <a:ext uri="{FF2B5EF4-FFF2-40B4-BE49-F238E27FC236}">
                <a16:creationId xmlns:a16="http://schemas.microsoft.com/office/drawing/2014/main" id="{5316601D-F683-57D9-292B-D912D4FE7B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23" b="35468"/>
          <a:stretch>
            <a:fillRect/>
          </a:stretch>
        </p:blipFill>
        <p:spPr>
          <a:xfrm rot="15807509">
            <a:off x="8113483" y="-421668"/>
            <a:ext cx="4113215" cy="4425594"/>
          </a:xfrm>
          <a:custGeom>
            <a:avLst/>
            <a:gdLst>
              <a:gd name="connsiteX0" fmla="*/ 4113215 w 4113215"/>
              <a:gd name="connsiteY0" fmla="*/ 0 h 4425594"/>
              <a:gd name="connsiteX1" fmla="*/ 3605733 w 4113215"/>
              <a:gd name="connsiteY1" fmla="*/ 4425594 h 4425594"/>
              <a:gd name="connsiteX2" fmla="*/ 0 w 4113215"/>
              <a:gd name="connsiteY2" fmla="*/ 4012126 h 4425594"/>
              <a:gd name="connsiteX3" fmla="*/ 0 w 4113215"/>
              <a:gd name="connsiteY3" fmla="*/ 1 h 4425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13215" h="4425594">
                <a:moveTo>
                  <a:pt x="4113215" y="0"/>
                </a:moveTo>
                <a:lnTo>
                  <a:pt x="3605733" y="4425594"/>
                </a:lnTo>
                <a:lnTo>
                  <a:pt x="0" y="4012126"/>
                </a:lnTo>
                <a:lnTo>
                  <a:pt x="0" y="1"/>
                </a:lnTo>
                <a:close/>
              </a:path>
            </a:pathLst>
          </a:cu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4B366E-D09F-4CEC-A90C-D4D6B415F9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Sub heading (optional)">
            <a:extLst>
              <a:ext uri="{FF2B5EF4-FFF2-40B4-BE49-F238E27FC236}">
                <a16:creationId xmlns:a16="http://schemas.microsoft.com/office/drawing/2014/main" id="{60B97A45-8008-46C2-B7C5-3061400481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218096"/>
            <a:ext cx="11090275" cy="2428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3pPr marL="285750" indent="-285750">
              <a:buFont typeface="Arial" panose="020B0604020202020204" pitchFamily="34" charset="0"/>
              <a:buChar char="•"/>
              <a:defRPr/>
            </a:lvl3pPr>
            <a:lvl4pPr marL="342900" indent="-342900">
              <a:buFont typeface="Arial" panose="020B0604020202020204" pitchFamily="34" charset="0"/>
              <a:buChar char="•"/>
              <a:defRPr/>
            </a:lvl4pPr>
            <a:lvl5pPr marL="2857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dirty="0"/>
              <a:t>Sub heading (optional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118E438-D875-D849-E340-D12F615650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Add a slide title, max. 1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55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52451" y="532006"/>
            <a:ext cx="11088687" cy="328039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noProof="0" dirty="0"/>
              <a:t>Add a slide title, max. 1 line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52451" y="1127090"/>
            <a:ext cx="11088687" cy="51816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Bullet</a:t>
            </a:r>
          </a:p>
          <a:p>
            <a:pPr lvl="1"/>
            <a:r>
              <a:rPr lang="en-GB" noProof="0" dirty="0"/>
              <a:t>Sub-bullet</a:t>
            </a:r>
          </a:p>
          <a:p>
            <a:pPr lvl="2"/>
            <a:r>
              <a:rPr lang="en-GB" noProof="0" dirty="0"/>
              <a:t>Plain text</a:t>
            </a:r>
          </a:p>
          <a:p>
            <a:pPr lvl="3"/>
            <a:r>
              <a:rPr lang="en-GB" noProof="0" dirty="0"/>
              <a:t>Subtitle</a:t>
            </a:r>
          </a:p>
          <a:p>
            <a:pPr lvl="4"/>
            <a:r>
              <a:rPr lang="en-GB" noProof="0" dirty="0"/>
              <a:t>Numerical bullet</a:t>
            </a:r>
          </a:p>
          <a:p>
            <a:pPr lvl="5"/>
            <a:r>
              <a:rPr lang="en-GB" noProof="0" dirty="0"/>
              <a:t>Bullet</a:t>
            </a:r>
          </a:p>
          <a:p>
            <a:pPr lvl="6"/>
            <a:r>
              <a:rPr lang="en-GB" noProof="0" dirty="0"/>
              <a:t>Sub-bullet</a:t>
            </a:r>
          </a:p>
          <a:p>
            <a:pPr lvl="7"/>
            <a:r>
              <a:rPr lang="en-GB" noProof="0" dirty="0"/>
              <a:t>Plain text</a:t>
            </a:r>
          </a:p>
          <a:p>
            <a:pPr lvl="8"/>
            <a:r>
              <a:rPr lang="en-GB" noProof="0" dirty="0"/>
              <a:t>Subtitle bold</a:t>
            </a:r>
          </a:p>
        </p:txBody>
      </p:sp>
      <p:sp>
        <p:nvSpPr>
          <p:cNvPr id="78" name="Rechthoek 77">
            <a:extLst>
              <a:ext uri="{FF2B5EF4-FFF2-40B4-BE49-F238E27FC236}">
                <a16:creationId xmlns:a16="http://schemas.microsoft.com/office/drawing/2014/main" id="{53747DF5-28FC-483D-91C0-C1C2535B5542}"/>
              </a:ext>
            </a:extLst>
          </p:cNvPr>
          <p:cNvSpPr/>
          <p:nvPr userDrawn="1"/>
        </p:nvSpPr>
        <p:spPr>
          <a:xfrm>
            <a:off x="550918" y="831792"/>
            <a:ext cx="540000" cy="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F0F377-869A-43DC-A92E-9FDC93366F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2028" y="6481252"/>
            <a:ext cx="419110" cy="2310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1AB7F0-A183-4E3D-883C-6313A1D5ED0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5" name="Connell_Caldic_Logo">
            <a:extLst>
              <a:ext uri="{FF2B5EF4-FFF2-40B4-BE49-F238E27FC236}">
                <a16:creationId xmlns:a16="http://schemas.microsoft.com/office/drawing/2014/main" id="{0353696A-3FBA-1901-05B5-61BFF64F7B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1983" y="6475288"/>
            <a:ext cx="2178263" cy="241200"/>
            <a:chOff x="2105971" y="6521396"/>
            <a:chExt cx="974041" cy="107856"/>
          </a:xfrm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4D583146-0F9B-649C-2086-2906A0BD4DC6}"/>
                </a:ext>
              </a:extLst>
            </p:cNvPr>
            <p:cNvSpPr/>
            <p:nvPr/>
          </p:nvSpPr>
          <p:spPr>
            <a:xfrm>
              <a:off x="2863552" y="6524016"/>
              <a:ext cx="43278" cy="102990"/>
            </a:xfrm>
            <a:custGeom>
              <a:avLst/>
              <a:gdLst>
                <a:gd name="connsiteX0" fmla="*/ 0 w 43278"/>
                <a:gd name="connsiteY0" fmla="*/ 0 h 102990"/>
                <a:gd name="connsiteX1" fmla="*/ 18951 w 43278"/>
                <a:gd name="connsiteY1" fmla="*/ 0 h 102990"/>
                <a:gd name="connsiteX2" fmla="*/ 18951 w 43278"/>
                <a:gd name="connsiteY2" fmla="*/ 87374 h 102990"/>
                <a:gd name="connsiteX3" fmla="*/ 43279 w 43278"/>
                <a:gd name="connsiteY3" fmla="*/ 87374 h 102990"/>
                <a:gd name="connsiteX4" fmla="*/ 43279 w 43278"/>
                <a:gd name="connsiteY4" fmla="*/ 102991 h 102990"/>
                <a:gd name="connsiteX5" fmla="*/ 0 w 43278"/>
                <a:gd name="connsiteY5" fmla="*/ 102991 h 102990"/>
                <a:gd name="connsiteX6" fmla="*/ 0 w 43278"/>
                <a:gd name="connsiteY6" fmla="*/ 0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278" h="102990">
                  <a:moveTo>
                    <a:pt x="0" y="0"/>
                  </a:moveTo>
                  <a:lnTo>
                    <a:pt x="18951" y="0"/>
                  </a:lnTo>
                  <a:lnTo>
                    <a:pt x="18951" y="87374"/>
                  </a:lnTo>
                  <a:lnTo>
                    <a:pt x="43279" y="87374"/>
                  </a:lnTo>
                  <a:lnTo>
                    <a:pt x="43279" y="102991"/>
                  </a:lnTo>
                  <a:lnTo>
                    <a:pt x="0" y="1029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2E483692-B540-8C0F-7F51-F97704D88DE4}"/>
                </a:ext>
              </a:extLst>
            </p:cNvPr>
            <p:cNvSpPr/>
            <p:nvPr/>
          </p:nvSpPr>
          <p:spPr>
            <a:xfrm>
              <a:off x="2914826" y="6524016"/>
              <a:ext cx="56582" cy="102922"/>
            </a:xfrm>
            <a:custGeom>
              <a:avLst/>
              <a:gdLst>
                <a:gd name="connsiteX0" fmla="*/ 0 w 56582"/>
                <a:gd name="connsiteY0" fmla="*/ 0 h 102922"/>
                <a:gd name="connsiteX1" fmla="*/ 30622 w 56582"/>
                <a:gd name="connsiteY1" fmla="*/ 0 h 102922"/>
                <a:gd name="connsiteX2" fmla="*/ 35419 w 56582"/>
                <a:gd name="connsiteY2" fmla="*/ 68 h 102922"/>
                <a:gd name="connsiteX3" fmla="*/ 40455 w 56582"/>
                <a:gd name="connsiteY3" fmla="*/ 783 h 102922"/>
                <a:gd name="connsiteX4" fmla="*/ 45558 w 56582"/>
                <a:gd name="connsiteY4" fmla="*/ 2756 h 102922"/>
                <a:gd name="connsiteX5" fmla="*/ 50458 w 56582"/>
                <a:gd name="connsiteY5" fmla="*/ 6397 h 102922"/>
                <a:gd name="connsiteX6" fmla="*/ 55561 w 56582"/>
                <a:gd name="connsiteY6" fmla="*/ 15787 h 102922"/>
                <a:gd name="connsiteX7" fmla="*/ 56582 w 56582"/>
                <a:gd name="connsiteY7" fmla="*/ 27083 h 102922"/>
                <a:gd name="connsiteX8" fmla="*/ 56582 w 56582"/>
                <a:gd name="connsiteY8" fmla="*/ 75227 h 102922"/>
                <a:gd name="connsiteX9" fmla="*/ 55868 w 56582"/>
                <a:gd name="connsiteY9" fmla="*/ 85571 h 102922"/>
                <a:gd name="connsiteX10" fmla="*/ 52499 w 56582"/>
                <a:gd name="connsiteY10" fmla="*/ 94383 h 102922"/>
                <a:gd name="connsiteX11" fmla="*/ 44640 w 56582"/>
                <a:gd name="connsiteY11" fmla="*/ 100575 h 102922"/>
                <a:gd name="connsiteX12" fmla="*/ 30486 w 56582"/>
                <a:gd name="connsiteY12" fmla="*/ 102923 h 102922"/>
                <a:gd name="connsiteX13" fmla="*/ 0 w 56582"/>
                <a:gd name="connsiteY13" fmla="*/ 102923 h 102922"/>
                <a:gd name="connsiteX14" fmla="*/ 0 w 56582"/>
                <a:gd name="connsiteY14" fmla="*/ 0 h 102922"/>
                <a:gd name="connsiteX15" fmla="*/ 18985 w 56582"/>
                <a:gd name="connsiteY15" fmla="*/ 87952 h 102922"/>
                <a:gd name="connsiteX16" fmla="*/ 24327 w 56582"/>
                <a:gd name="connsiteY16" fmla="*/ 87952 h 102922"/>
                <a:gd name="connsiteX17" fmla="*/ 27593 w 56582"/>
                <a:gd name="connsiteY17" fmla="*/ 87952 h 102922"/>
                <a:gd name="connsiteX18" fmla="*/ 29533 w 56582"/>
                <a:gd name="connsiteY18" fmla="*/ 87884 h 102922"/>
                <a:gd name="connsiteX19" fmla="*/ 30826 w 56582"/>
                <a:gd name="connsiteY19" fmla="*/ 87680 h 102922"/>
                <a:gd name="connsiteX20" fmla="*/ 34807 w 56582"/>
                <a:gd name="connsiteY20" fmla="*/ 86081 h 102922"/>
                <a:gd name="connsiteX21" fmla="*/ 36848 w 56582"/>
                <a:gd name="connsiteY21" fmla="*/ 83325 h 102922"/>
                <a:gd name="connsiteX22" fmla="*/ 37563 w 56582"/>
                <a:gd name="connsiteY22" fmla="*/ 80059 h 102922"/>
                <a:gd name="connsiteX23" fmla="*/ 37631 w 56582"/>
                <a:gd name="connsiteY23" fmla="*/ 76928 h 102922"/>
                <a:gd name="connsiteX24" fmla="*/ 37631 w 56582"/>
                <a:gd name="connsiteY24" fmla="*/ 25518 h 102922"/>
                <a:gd name="connsiteX25" fmla="*/ 37052 w 56582"/>
                <a:gd name="connsiteY25" fmla="*/ 19972 h 102922"/>
                <a:gd name="connsiteX26" fmla="*/ 35113 w 56582"/>
                <a:gd name="connsiteY26" fmla="*/ 16842 h 102922"/>
                <a:gd name="connsiteX27" fmla="*/ 31574 w 56582"/>
                <a:gd name="connsiteY27" fmla="*/ 15379 h 102922"/>
                <a:gd name="connsiteX28" fmla="*/ 26369 w 56582"/>
                <a:gd name="connsiteY28" fmla="*/ 15005 h 102922"/>
                <a:gd name="connsiteX29" fmla="*/ 18985 w 56582"/>
                <a:gd name="connsiteY29" fmla="*/ 15005 h 102922"/>
                <a:gd name="connsiteX30" fmla="*/ 18985 w 56582"/>
                <a:gd name="connsiteY30" fmla="*/ 87952 h 102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6582" h="102922">
                  <a:moveTo>
                    <a:pt x="0" y="0"/>
                  </a:moveTo>
                  <a:lnTo>
                    <a:pt x="30622" y="0"/>
                  </a:lnTo>
                  <a:cubicBezTo>
                    <a:pt x="32187" y="0"/>
                    <a:pt x="33786" y="34"/>
                    <a:pt x="35419" y="68"/>
                  </a:cubicBezTo>
                  <a:cubicBezTo>
                    <a:pt x="37086" y="102"/>
                    <a:pt x="38753" y="374"/>
                    <a:pt x="40455" y="783"/>
                  </a:cubicBezTo>
                  <a:cubicBezTo>
                    <a:pt x="42156" y="1225"/>
                    <a:pt x="43857" y="1871"/>
                    <a:pt x="45558" y="2756"/>
                  </a:cubicBezTo>
                  <a:cubicBezTo>
                    <a:pt x="47259" y="3641"/>
                    <a:pt x="48893" y="4831"/>
                    <a:pt x="50458" y="6397"/>
                  </a:cubicBezTo>
                  <a:cubicBezTo>
                    <a:pt x="53180" y="9221"/>
                    <a:pt x="54881" y="12351"/>
                    <a:pt x="55561" y="15787"/>
                  </a:cubicBezTo>
                  <a:cubicBezTo>
                    <a:pt x="56242" y="19224"/>
                    <a:pt x="56582" y="23000"/>
                    <a:pt x="56582" y="27083"/>
                  </a:cubicBezTo>
                  <a:lnTo>
                    <a:pt x="56582" y="75227"/>
                  </a:lnTo>
                  <a:cubicBezTo>
                    <a:pt x="56582" y="78834"/>
                    <a:pt x="56344" y="82270"/>
                    <a:pt x="55868" y="85571"/>
                  </a:cubicBezTo>
                  <a:cubicBezTo>
                    <a:pt x="55391" y="88871"/>
                    <a:pt x="54268" y="91831"/>
                    <a:pt x="52499" y="94383"/>
                  </a:cubicBezTo>
                  <a:cubicBezTo>
                    <a:pt x="50764" y="96969"/>
                    <a:pt x="48110" y="99044"/>
                    <a:pt x="44640" y="100575"/>
                  </a:cubicBezTo>
                  <a:cubicBezTo>
                    <a:pt x="41135" y="102140"/>
                    <a:pt x="36406" y="102923"/>
                    <a:pt x="30486" y="102923"/>
                  </a:cubicBezTo>
                  <a:lnTo>
                    <a:pt x="0" y="102923"/>
                  </a:lnTo>
                  <a:lnTo>
                    <a:pt x="0" y="0"/>
                  </a:lnTo>
                  <a:close/>
                  <a:moveTo>
                    <a:pt x="18985" y="87952"/>
                  </a:moveTo>
                  <a:cubicBezTo>
                    <a:pt x="21197" y="87952"/>
                    <a:pt x="23000" y="87952"/>
                    <a:pt x="24327" y="87952"/>
                  </a:cubicBezTo>
                  <a:cubicBezTo>
                    <a:pt x="25688" y="87952"/>
                    <a:pt x="26777" y="87952"/>
                    <a:pt x="27593" y="87952"/>
                  </a:cubicBezTo>
                  <a:cubicBezTo>
                    <a:pt x="28410" y="87952"/>
                    <a:pt x="29057" y="87918"/>
                    <a:pt x="29533" y="87884"/>
                  </a:cubicBezTo>
                  <a:cubicBezTo>
                    <a:pt x="30009" y="87850"/>
                    <a:pt x="30452" y="87748"/>
                    <a:pt x="30826" y="87680"/>
                  </a:cubicBezTo>
                  <a:cubicBezTo>
                    <a:pt x="32561" y="87374"/>
                    <a:pt x="33888" y="86863"/>
                    <a:pt x="34807" y="86081"/>
                  </a:cubicBezTo>
                  <a:cubicBezTo>
                    <a:pt x="35725" y="85298"/>
                    <a:pt x="36406" y="84380"/>
                    <a:pt x="36848" y="83325"/>
                  </a:cubicBezTo>
                  <a:cubicBezTo>
                    <a:pt x="37290" y="82270"/>
                    <a:pt x="37529" y="81147"/>
                    <a:pt x="37563" y="80059"/>
                  </a:cubicBezTo>
                  <a:cubicBezTo>
                    <a:pt x="37597" y="78936"/>
                    <a:pt x="37631" y="77881"/>
                    <a:pt x="37631" y="76928"/>
                  </a:cubicBezTo>
                  <a:lnTo>
                    <a:pt x="37631" y="25518"/>
                  </a:lnTo>
                  <a:cubicBezTo>
                    <a:pt x="37631" y="23170"/>
                    <a:pt x="37427" y="21333"/>
                    <a:pt x="37052" y="19972"/>
                  </a:cubicBezTo>
                  <a:cubicBezTo>
                    <a:pt x="36678" y="18611"/>
                    <a:pt x="35998" y="17556"/>
                    <a:pt x="35113" y="16842"/>
                  </a:cubicBezTo>
                  <a:cubicBezTo>
                    <a:pt x="34194" y="16127"/>
                    <a:pt x="33003" y="15617"/>
                    <a:pt x="31574" y="15379"/>
                  </a:cubicBezTo>
                  <a:cubicBezTo>
                    <a:pt x="30111" y="15141"/>
                    <a:pt x="28376" y="15005"/>
                    <a:pt x="26369" y="15005"/>
                  </a:cubicBezTo>
                  <a:lnTo>
                    <a:pt x="18985" y="15005"/>
                  </a:lnTo>
                  <a:lnTo>
                    <a:pt x="18985" y="87952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264081E-6EC6-E5DA-BEBC-FB2DCE3EB581}"/>
                </a:ext>
              </a:extLst>
            </p:cNvPr>
            <p:cNvSpPr/>
            <p:nvPr/>
          </p:nvSpPr>
          <p:spPr>
            <a:xfrm>
              <a:off x="2792509" y="6524016"/>
              <a:ext cx="60971" cy="102956"/>
            </a:xfrm>
            <a:custGeom>
              <a:avLst/>
              <a:gdLst>
                <a:gd name="connsiteX0" fmla="*/ 19972 w 60971"/>
                <a:gd name="connsiteY0" fmla="*/ 0 h 102956"/>
                <a:gd name="connsiteX1" fmla="*/ 41714 w 60971"/>
                <a:gd name="connsiteY1" fmla="*/ 0 h 102956"/>
                <a:gd name="connsiteX2" fmla="*/ 60971 w 60971"/>
                <a:gd name="connsiteY2" fmla="*/ 102957 h 102956"/>
                <a:gd name="connsiteX3" fmla="*/ 42122 w 60971"/>
                <a:gd name="connsiteY3" fmla="*/ 102957 h 102956"/>
                <a:gd name="connsiteX4" fmla="*/ 39638 w 60971"/>
                <a:gd name="connsiteY4" fmla="*/ 86183 h 102956"/>
                <a:gd name="connsiteX5" fmla="*/ 21333 w 60971"/>
                <a:gd name="connsiteY5" fmla="*/ 86183 h 102956"/>
                <a:gd name="connsiteX6" fmla="*/ 18577 w 60971"/>
                <a:gd name="connsiteY6" fmla="*/ 102957 h 102956"/>
                <a:gd name="connsiteX7" fmla="*/ 0 w 60971"/>
                <a:gd name="connsiteY7" fmla="*/ 102957 h 102956"/>
                <a:gd name="connsiteX8" fmla="*/ 19972 w 60971"/>
                <a:gd name="connsiteY8" fmla="*/ 0 h 102956"/>
                <a:gd name="connsiteX9" fmla="*/ 23545 w 60971"/>
                <a:gd name="connsiteY9" fmla="*/ 70770 h 102956"/>
                <a:gd name="connsiteX10" fmla="*/ 37699 w 60971"/>
                <a:gd name="connsiteY10" fmla="*/ 70770 h 102956"/>
                <a:gd name="connsiteX11" fmla="*/ 30894 w 60971"/>
                <a:gd name="connsiteY11" fmla="*/ 26096 h 102956"/>
                <a:gd name="connsiteX12" fmla="*/ 23545 w 60971"/>
                <a:gd name="connsiteY12" fmla="*/ 7077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1" h="102956">
                  <a:moveTo>
                    <a:pt x="19972" y="0"/>
                  </a:moveTo>
                  <a:lnTo>
                    <a:pt x="41714" y="0"/>
                  </a:lnTo>
                  <a:lnTo>
                    <a:pt x="60971" y="102957"/>
                  </a:lnTo>
                  <a:lnTo>
                    <a:pt x="42122" y="102957"/>
                  </a:lnTo>
                  <a:lnTo>
                    <a:pt x="39638" y="86183"/>
                  </a:lnTo>
                  <a:lnTo>
                    <a:pt x="21333" y="86183"/>
                  </a:lnTo>
                  <a:lnTo>
                    <a:pt x="18577" y="102957"/>
                  </a:lnTo>
                  <a:lnTo>
                    <a:pt x="0" y="102957"/>
                  </a:lnTo>
                  <a:lnTo>
                    <a:pt x="19972" y="0"/>
                  </a:lnTo>
                  <a:close/>
                  <a:moveTo>
                    <a:pt x="23545" y="70770"/>
                  </a:moveTo>
                  <a:lnTo>
                    <a:pt x="37699" y="70770"/>
                  </a:lnTo>
                  <a:lnTo>
                    <a:pt x="30894" y="26096"/>
                  </a:lnTo>
                  <a:lnTo>
                    <a:pt x="23545" y="7077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9BF03560-FAE7-94A9-24E3-F972E5B2CABE}"/>
                </a:ext>
              </a:extLst>
            </p:cNvPr>
            <p:cNvSpPr/>
            <p:nvPr/>
          </p:nvSpPr>
          <p:spPr>
            <a:xfrm>
              <a:off x="2729327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3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222 w 56139"/>
                <a:gd name="connsiteY43" fmla="*/ 66483 h 107345"/>
                <a:gd name="connsiteX44" fmla="*/ 37222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289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095" y="90096"/>
                    <a:pt x="20483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0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0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222" y="66483"/>
                  </a:lnTo>
                  <a:lnTo>
                    <a:pt x="37222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1FFF4B8F-DF1D-82A3-C0DF-95678BD7AF71}"/>
                </a:ext>
              </a:extLst>
            </p:cNvPr>
            <p:cNvSpPr/>
            <p:nvPr/>
          </p:nvSpPr>
          <p:spPr>
            <a:xfrm>
              <a:off x="2988012" y="6524016"/>
              <a:ext cx="18951" cy="102956"/>
            </a:xfrm>
            <a:custGeom>
              <a:avLst/>
              <a:gdLst>
                <a:gd name="connsiteX0" fmla="*/ 0 w 18951"/>
                <a:gd name="connsiteY0" fmla="*/ 0 h 102956"/>
                <a:gd name="connsiteX1" fmla="*/ 18951 w 18951"/>
                <a:gd name="connsiteY1" fmla="*/ 0 h 102956"/>
                <a:gd name="connsiteX2" fmla="*/ 18951 w 18951"/>
                <a:gd name="connsiteY2" fmla="*/ 102957 h 102956"/>
                <a:gd name="connsiteX3" fmla="*/ 0 w 18951"/>
                <a:gd name="connsiteY3" fmla="*/ 102957 h 102956"/>
                <a:gd name="connsiteX4" fmla="*/ 0 w 18951"/>
                <a:gd name="connsiteY4" fmla="*/ 0 h 102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51" h="102956">
                  <a:moveTo>
                    <a:pt x="0" y="0"/>
                  </a:moveTo>
                  <a:lnTo>
                    <a:pt x="18951" y="0"/>
                  </a:lnTo>
                  <a:lnTo>
                    <a:pt x="18951" y="102957"/>
                  </a:lnTo>
                  <a:lnTo>
                    <a:pt x="0" y="1029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2A11289A-BF1F-0E5D-C441-07DB019006D5}"/>
                </a:ext>
              </a:extLst>
            </p:cNvPr>
            <p:cNvSpPr/>
            <p:nvPr/>
          </p:nvSpPr>
          <p:spPr>
            <a:xfrm>
              <a:off x="3023873" y="6521907"/>
              <a:ext cx="56139" cy="107345"/>
            </a:xfrm>
            <a:custGeom>
              <a:avLst/>
              <a:gdLst>
                <a:gd name="connsiteX0" fmla="*/ 37222 w 56139"/>
                <a:gd name="connsiteY0" fmla="*/ 79855 h 107345"/>
                <a:gd name="connsiteX1" fmla="*/ 37086 w 56139"/>
                <a:gd name="connsiteY1" fmla="*/ 84448 h 107345"/>
                <a:gd name="connsiteX2" fmla="*/ 36134 w 56139"/>
                <a:gd name="connsiteY2" fmla="*/ 88531 h 107345"/>
                <a:gd name="connsiteX3" fmla="*/ 33514 w 56139"/>
                <a:gd name="connsiteY3" fmla="*/ 91457 h 107345"/>
                <a:gd name="connsiteX4" fmla="*/ 28376 w 56139"/>
                <a:gd name="connsiteY4" fmla="*/ 92545 h 107345"/>
                <a:gd name="connsiteX5" fmla="*/ 23307 w 56139"/>
                <a:gd name="connsiteY5" fmla="*/ 91593 h 107345"/>
                <a:gd name="connsiteX6" fmla="*/ 20482 w 56139"/>
                <a:gd name="connsiteY6" fmla="*/ 89041 h 107345"/>
                <a:gd name="connsiteX7" fmla="*/ 19258 w 56139"/>
                <a:gd name="connsiteY7" fmla="*/ 85332 h 107345"/>
                <a:gd name="connsiteX8" fmla="*/ 18951 w 56139"/>
                <a:gd name="connsiteY8" fmla="*/ 80875 h 107345"/>
                <a:gd name="connsiteX9" fmla="*/ 18951 w 56139"/>
                <a:gd name="connsiteY9" fmla="*/ 25756 h 107345"/>
                <a:gd name="connsiteX10" fmla="*/ 19156 w 56139"/>
                <a:gd name="connsiteY10" fmla="*/ 22048 h 107345"/>
                <a:gd name="connsiteX11" fmla="*/ 20244 w 56139"/>
                <a:gd name="connsiteY11" fmla="*/ 18407 h 107345"/>
                <a:gd name="connsiteX12" fmla="*/ 22864 w 56139"/>
                <a:gd name="connsiteY12" fmla="*/ 15651 h 107345"/>
                <a:gd name="connsiteX13" fmla="*/ 27628 w 56139"/>
                <a:gd name="connsiteY13" fmla="*/ 14562 h 107345"/>
                <a:gd name="connsiteX14" fmla="*/ 32561 w 56139"/>
                <a:gd name="connsiteY14" fmla="*/ 15379 h 107345"/>
                <a:gd name="connsiteX15" fmla="*/ 35453 w 56139"/>
                <a:gd name="connsiteY15" fmla="*/ 17727 h 107345"/>
                <a:gd name="connsiteX16" fmla="*/ 36814 w 56139"/>
                <a:gd name="connsiteY16" fmla="*/ 21503 h 107345"/>
                <a:gd name="connsiteX17" fmla="*/ 37188 w 56139"/>
                <a:gd name="connsiteY17" fmla="*/ 26675 h 107345"/>
                <a:gd name="connsiteX18" fmla="*/ 37188 w 56139"/>
                <a:gd name="connsiteY18" fmla="*/ 38447 h 107345"/>
                <a:gd name="connsiteX19" fmla="*/ 56140 w 56139"/>
                <a:gd name="connsiteY19" fmla="*/ 38447 h 107345"/>
                <a:gd name="connsiteX20" fmla="*/ 56140 w 56139"/>
                <a:gd name="connsiteY20" fmla="*/ 23885 h 107345"/>
                <a:gd name="connsiteX21" fmla="*/ 55697 w 56139"/>
                <a:gd name="connsiteY21" fmla="*/ 17046 h 107345"/>
                <a:gd name="connsiteX22" fmla="*/ 52635 w 56139"/>
                <a:gd name="connsiteY22" fmla="*/ 9187 h 107345"/>
                <a:gd name="connsiteX23" fmla="*/ 44333 w 56139"/>
                <a:gd name="connsiteY23" fmla="*/ 2688 h 107345"/>
                <a:gd name="connsiteX24" fmla="*/ 28138 w 56139"/>
                <a:gd name="connsiteY24" fmla="*/ 0 h 107345"/>
                <a:gd name="connsiteX25" fmla="*/ 23919 w 56139"/>
                <a:gd name="connsiteY25" fmla="*/ 136 h 107345"/>
                <a:gd name="connsiteX26" fmla="*/ 17931 w 56139"/>
                <a:gd name="connsiteY26" fmla="*/ 1089 h 107345"/>
                <a:gd name="connsiteX27" fmla="*/ 11296 w 56139"/>
                <a:gd name="connsiteY27" fmla="*/ 3504 h 107345"/>
                <a:gd name="connsiteX28" fmla="*/ 5104 w 56139"/>
                <a:gd name="connsiteY28" fmla="*/ 8166 h 107345"/>
                <a:gd name="connsiteX29" fmla="*/ 817 w 56139"/>
                <a:gd name="connsiteY29" fmla="*/ 16468 h 107345"/>
                <a:gd name="connsiteX30" fmla="*/ 0 w 56139"/>
                <a:gd name="connsiteY30" fmla="*/ 27253 h 107345"/>
                <a:gd name="connsiteX31" fmla="*/ 0 w 56139"/>
                <a:gd name="connsiteY31" fmla="*/ 83257 h 107345"/>
                <a:gd name="connsiteX32" fmla="*/ 136 w 56139"/>
                <a:gd name="connsiteY32" fmla="*/ 87918 h 107345"/>
                <a:gd name="connsiteX33" fmla="*/ 1021 w 56139"/>
                <a:gd name="connsiteY33" fmla="*/ 92954 h 107345"/>
                <a:gd name="connsiteX34" fmla="*/ 3436 w 56139"/>
                <a:gd name="connsiteY34" fmla="*/ 97921 h 107345"/>
                <a:gd name="connsiteX35" fmla="*/ 8166 w 56139"/>
                <a:gd name="connsiteY35" fmla="*/ 102378 h 107345"/>
                <a:gd name="connsiteX36" fmla="*/ 18373 w 56139"/>
                <a:gd name="connsiteY36" fmla="*/ 106325 h 107345"/>
                <a:gd name="connsiteX37" fmla="*/ 28138 w 56139"/>
                <a:gd name="connsiteY37" fmla="*/ 107346 h 107345"/>
                <a:gd name="connsiteX38" fmla="*/ 44333 w 56139"/>
                <a:gd name="connsiteY38" fmla="*/ 104420 h 107345"/>
                <a:gd name="connsiteX39" fmla="*/ 52635 w 56139"/>
                <a:gd name="connsiteY39" fmla="*/ 97343 h 107345"/>
                <a:gd name="connsiteX40" fmla="*/ 55697 w 56139"/>
                <a:gd name="connsiteY40" fmla="*/ 88667 h 107345"/>
                <a:gd name="connsiteX41" fmla="*/ 56140 w 56139"/>
                <a:gd name="connsiteY41" fmla="*/ 81079 h 107345"/>
                <a:gd name="connsiteX42" fmla="*/ 56140 w 56139"/>
                <a:gd name="connsiteY42" fmla="*/ 66483 h 107345"/>
                <a:gd name="connsiteX43" fmla="*/ 37188 w 56139"/>
                <a:gd name="connsiteY43" fmla="*/ 66483 h 107345"/>
                <a:gd name="connsiteX44" fmla="*/ 37188 w 56139"/>
                <a:gd name="connsiteY44" fmla="*/ 79855 h 10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6139" h="107345">
                  <a:moveTo>
                    <a:pt x="37222" y="79855"/>
                  </a:moveTo>
                  <a:cubicBezTo>
                    <a:pt x="37222" y="81420"/>
                    <a:pt x="37188" y="82951"/>
                    <a:pt x="37086" y="84448"/>
                  </a:cubicBezTo>
                  <a:cubicBezTo>
                    <a:pt x="36984" y="85945"/>
                    <a:pt x="36678" y="87306"/>
                    <a:pt x="36134" y="88531"/>
                  </a:cubicBezTo>
                  <a:cubicBezTo>
                    <a:pt x="35589" y="89756"/>
                    <a:pt x="34739" y="90708"/>
                    <a:pt x="33514" y="91457"/>
                  </a:cubicBezTo>
                  <a:cubicBezTo>
                    <a:pt x="32323" y="92171"/>
                    <a:pt x="30588" y="92545"/>
                    <a:pt x="28376" y="92545"/>
                  </a:cubicBezTo>
                  <a:cubicBezTo>
                    <a:pt x="26267" y="92545"/>
                    <a:pt x="24565" y="92239"/>
                    <a:pt x="23307" y="91593"/>
                  </a:cubicBezTo>
                  <a:cubicBezTo>
                    <a:pt x="22048" y="90946"/>
                    <a:pt x="21129" y="90096"/>
                    <a:pt x="20482" y="89041"/>
                  </a:cubicBezTo>
                  <a:cubicBezTo>
                    <a:pt x="19870" y="87986"/>
                    <a:pt x="19462" y="86727"/>
                    <a:pt x="19258" y="85332"/>
                  </a:cubicBezTo>
                  <a:cubicBezTo>
                    <a:pt x="19053" y="83937"/>
                    <a:pt x="18951" y="82440"/>
                    <a:pt x="18951" y="80875"/>
                  </a:cubicBezTo>
                  <a:lnTo>
                    <a:pt x="18951" y="25756"/>
                  </a:lnTo>
                  <a:cubicBezTo>
                    <a:pt x="18951" y="24599"/>
                    <a:pt x="19019" y="23341"/>
                    <a:pt x="19156" y="22048"/>
                  </a:cubicBezTo>
                  <a:cubicBezTo>
                    <a:pt x="19292" y="20721"/>
                    <a:pt x="19666" y="19530"/>
                    <a:pt x="20244" y="18407"/>
                  </a:cubicBezTo>
                  <a:cubicBezTo>
                    <a:pt x="20823" y="17284"/>
                    <a:pt x="21707" y="16366"/>
                    <a:pt x="22864" y="15651"/>
                  </a:cubicBezTo>
                  <a:cubicBezTo>
                    <a:pt x="24021" y="14937"/>
                    <a:pt x="25620" y="14562"/>
                    <a:pt x="27628" y="14562"/>
                  </a:cubicBezTo>
                  <a:cubicBezTo>
                    <a:pt x="29635" y="14562"/>
                    <a:pt x="31302" y="14834"/>
                    <a:pt x="32561" y="15379"/>
                  </a:cubicBezTo>
                  <a:cubicBezTo>
                    <a:pt x="33820" y="15923"/>
                    <a:pt x="34773" y="16706"/>
                    <a:pt x="35453" y="17727"/>
                  </a:cubicBezTo>
                  <a:cubicBezTo>
                    <a:pt x="36134" y="18747"/>
                    <a:pt x="36576" y="20006"/>
                    <a:pt x="36814" y="21503"/>
                  </a:cubicBezTo>
                  <a:cubicBezTo>
                    <a:pt x="37052" y="23000"/>
                    <a:pt x="37188" y="24736"/>
                    <a:pt x="37188" y="26675"/>
                  </a:cubicBezTo>
                  <a:lnTo>
                    <a:pt x="37188" y="38447"/>
                  </a:lnTo>
                  <a:lnTo>
                    <a:pt x="56140" y="38447"/>
                  </a:lnTo>
                  <a:lnTo>
                    <a:pt x="56140" y="23885"/>
                  </a:lnTo>
                  <a:cubicBezTo>
                    <a:pt x="56140" y="22048"/>
                    <a:pt x="56004" y="19768"/>
                    <a:pt x="55697" y="17046"/>
                  </a:cubicBezTo>
                  <a:cubicBezTo>
                    <a:pt x="55391" y="14324"/>
                    <a:pt x="54371" y="11704"/>
                    <a:pt x="52635" y="9187"/>
                  </a:cubicBezTo>
                  <a:cubicBezTo>
                    <a:pt x="50900" y="6669"/>
                    <a:pt x="48110" y="4491"/>
                    <a:pt x="44333" y="2688"/>
                  </a:cubicBezTo>
                  <a:cubicBezTo>
                    <a:pt x="40557" y="885"/>
                    <a:pt x="35147" y="0"/>
                    <a:pt x="28138" y="0"/>
                  </a:cubicBezTo>
                  <a:cubicBezTo>
                    <a:pt x="27151" y="0"/>
                    <a:pt x="25756" y="34"/>
                    <a:pt x="23919" y="136"/>
                  </a:cubicBezTo>
                  <a:cubicBezTo>
                    <a:pt x="22082" y="238"/>
                    <a:pt x="20074" y="544"/>
                    <a:pt x="17931" y="1089"/>
                  </a:cubicBezTo>
                  <a:cubicBezTo>
                    <a:pt x="15787" y="1633"/>
                    <a:pt x="13576" y="2416"/>
                    <a:pt x="11296" y="3504"/>
                  </a:cubicBezTo>
                  <a:cubicBezTo>
                    <a:pt x="9016" y="4559"/>
                    <a:pt x="6941" y="6124"/>
                    <a:pt x="5104" y="8166"/>
                  </a:cubicBezTo>
                  <a:cubicBezTo>
                    <a:pt x="2756" y="10684"/>
                    <a:pt x="1327" y="13474"/>
                    <a:pt x="817" y="16468"/>
                  </a:cubicBezTo>
                  <a:cubicBezTo>
                    <a:pt x="272" y="19496"/>
                    <a:pt x="0" y="23068"/>
                    <a:pt x="0" y="27253"/>
                  </a:cubicBezTo>
                  <a:lnTo>
                    <a:pt x="0" y="83257"/>
                  </a:lnTo>
                  <a:cubicBezTo>
                    <a:pt x="0" y="84720"/>
                    <a:pt x="34" y="86285"/>
                    <a:pt x="136" y="87918"/>
                  </a:cubicBezTo>
                  <a:cubicBezTo>
                    <a:pt x="238" y="89585"/>
                    <a:pt x="510" y="91253"/>
                    <a:pt x="1021" y="92954"/>
                  </a:cubicBezTo>
                  <a:cubicBezTo>
                    <a:pt x="1497" y="94655"/>
                    <a:pt x="2314" y="96322"/>
                    <a:pt x="3436" y="97921"/>
                  </a:cubicBezTo>
                  <a:cubicBezTo>
                    <a:pt x="4559" y="99520"/>
                    <a:pt x="6124" y="101017"/>
                    <a:pt x="8166" y="102378"/>
                  </a:cubicBezTo>
                  <a:cubicBezTo>
                    <a:pt x="11194" y="104318"/>
                    <a:pt x="14596" y="105645"/>
                    <a:pt x="18373" y="106325"/>
                  </a:cubicBezTo>
                  <a:cubicBezTo>
                    <a:pt x="22150" y="107006"/>
                    <a:pt x="25416" y="107346"/>
                    <a:pt x="28138" y="107346"/>
                  </a:cubicBezTo>
                  <a:cubicBezTo>
                    <a:pt x="35147" y="107346"/>
                    <a:pt x="40523" y="106359"/>
                    <a:pt x="44333" y="104420"/>
                  </a:cubicBezTo>
                  <a:cubicBezTo>
                    <a:pt x="48110" y="102481"/>
                    <a:pt x="50900" y="100133"/>
                    <a:pt x="52635" y="97343"/>
                  </a:cubicBezTo>
                  <a:cubicBezTo>
                    <a:pt x="54371" y="94587"/>
                    <a:pt x="55391" y="91695"/>
                    <a:pt x="55697" y="88667"/>
                  </a:cubicBezTo>
                  <a:cubicBezTo>
                    <a:pt x="56004" y="85639"/>
                    <a:pt x="56140" y="83121"/>
                    <a:pt x="56140" y="81079"/>
                  </a:cubicBezTo>
                  <a:lnTo>
                    <a:pt x="56140" y="66483"/>
                  </a:lnTo>
                  <a:lnTo>
                    <a:pt x="37188" y="66483"/>
                  </a:lnTo>
                  <a:lnTo>
                    <a:pt x="37188" y="79855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F23FF5ED-A378-7051-45B4-C92AC610BEAF}"/>
                </a:ext>
              </a:extLst>
            </p:cNvPr>
            <p:cNvSpPr/>
            <p:nvPr/>
          </p:nvSpPr>
          <p:spPr>
            <a:xfrm>
              <a:off x="2105971" y="6523778"/>
              <a:ext cx="118914" cy="102990"/>
            </a:xfrm>
            <a:custGeom>
              <a:avLst/>
              <a:gdLst>
                <a:gd name="connsiteX0" fmla="*/ 74343 w 118914"/>
                <a:gd name="connsiteY0" fmla="*/ 30894 h 102990"/>
                <a:gd name="connsiteX1" fmla="*/ 102583 w 118914"/>
                <a:gd name="connsiteY1" fmla="*/ 79820 h 102990"/>
                <a:gd name="connsiteX2" fmla="*/ 89211 w 118914"/>
                <a:gd name="connsiteY2" fmla="*/ 102991 h 102990"/>
                <a:gd name="connsiteX3" fmla="*/ 29737 w 118914"/>
                <a:gd name="connsiteY3" fmla="*/ 102991 h 102990"/>
                <a:gd name="connsiteX4" fmla="*/ 16366 w 118914"/>
                <a:gd name="connsiteY4" fmla="*/ 79820 h 102990"/>
                <a:gd name="connsiteX5" fmla="*/ 78800 w 118914"/>
                <a:gd name="connsiteY5" fmla="*/ 79820 h 102990"/>
                <a:gd name="connsiteX6" fmla="*/ 62434 w 118914"/>
                <a:gd name="connsiteY6" fmla="*/ 51512 h 102990"/>
                <a:gd name="connsiteX7" fmla="*/ 74343 w 118914"/>
                <a:gd name="connsiteY7" fmla="*/ 30894 h 102990"/>
                <a:gd name="connsiteX8" fmla="*/ 57977 w 118914"/>
                <a:gd name="connsiteY8" fmla="*/ 48927 h 102990"/>
                <a:gd name="connsiteX9" fmla="*/ 74343 w 118914"/>
                <a:gd name="connsiteY9" fmla="*/ 20619 h 102990"/>
                <a:gd name="connsiteX10" fmla="*/ 105543 w 118914"/>
                <a:gd name="connsiteY10" fmla="*/ 74683 h 102990"/>
                <a:gd name="connsiteX11" fmla="*/ 118914 w 118914"/>
                <a:gd name="connsiteY11" fmla="*/ 51512 h 102990"/>
                <a:gd name="connsiteX12" fmla="*/ 89177 w 118914"/>
                <a:gd name="connsiteY12" fmla="*/ 34 h 102990"/>
                <a:gd name="connsiteX13" fmla="*/ 62434 w 118914"/>
                <a:gd name="connsiteY13" fmla="*/ 34 h 102990"/>
                <a:gd name="connsiteX14" fmla="*/ 34194 w 118914"/>
                <a:gd name="connsiteY14" fmla="*/ 48961 h 102990"/>
                <a:gd name="connsiteX15" fmla="*/ 57977 w 118914"/>
                <a:gd name="connsiteY15" fmla="*/ 48961 h 102990"/>
                <a:gd name="connsiteX16" fmla="*/ 57977 w 118914"/>
                <a:gd name="connsiteY16" fmla="*/ 54064 h 102990"/>
                <a:gd name="connsiteX17" fmla="*/ 25280 w 118914"/>
                <a:gd name="connsiteY17" fmla="*/ 54064 h 102990"/>
                <a:gd name="connsiteX18" fmla="*/ 56480 w 118914"/>
                <a:gd name="connsiteY18" fmla="*/ 0 h 102990"/>
                <a:gd name="connsiteX19" fmla="*/ 29737 w 118914"/>
                <a:gd name="connsiteY19" fmla="*/ 0 h 102990"/>
                <a:gd name="connsiteX20" fmla="*/ 0 w 118914"/>
                <a:gd name="connsiteY20" fmla="*/ 51478 h 102990"/>
                <a:gd name="connsiteX21" fmla="*/ 13371 w 118914"/>
                <a:gd name="connsiteY21" fmla="*/ 74649 h 102990"/>
                <a:gd name="connsiteX22" fmla="*/ 69851 w 118914"/>
                <a:gd name="connsiteY22" fmla="*/ 74649 h 102990"/>
                <a:gd name="connsiteX23" fmla="*/ 57977 w 118914"/>
                <a:gd name="connsiteY23" fmla="*/ 54064 h 10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914" h="102990">
                  <a:moveTo>
                    <a:pt x="74343" y="30894"/>
                  </a:moveTo>
                  <a:lnTo>
                    <a:pt x="102583" y="79820"/>
                  </a:lnTo>
                  <a:lnTo>
                    <a:pt x="89211" y="102991"/>
                  </a:lnTo>
                  <a:lnTo>
                    <a:pt x="29737" y="102991"/>
                  </a:lnTo>
                  <a:lnTo>
                    <a:pt x="16366" y="79820"/>
                  </a:lnTo>
                  <a:lnTo>
                    <a:pt x="78800" y="79820"/>
                  </a:lnTo>
                  <a:lnTo>
                    <a:pt x="62434" y="51512"/>
                  </a:lnTo>
                  <a:lnTo>
                    <a:pt x="74343" y="30894"/>
                  </a:lnTo>
                  <a:close/>
                  <a:moveTo>
                    <a:pt x="57977" y="48927"/>
                  </a:moveTo>
                  <a:lnTo>
                    <a:pt x="74343" y="20619"/>
                  </a:lnTo>
                  <a:lnTo>
                    <a:pt x="105543" y="74683"/>
                  </a:lnTo>
                  <a:lnTo>
                    <a:pt x="118914" y="51512"/>
                  </a:lnTo>
                  <a:lnTo>
                    <a:pt x="89177" y="34"/>
                  </a:lnTo>
                  <a:lnTo>
                    <a:pt x="62434" y="34"/>
                  </a:lnTo>
                  <a:lnTo>
                    <a:pt x="34194" y="48961"/>
                  </a:lnTo>
                  <a:lnTo>
                    <a:pt x="57977" y="48961"/>
                  </a:lnTo>
                  <a:close/>
                  <a:moveTo>
                    <a:pt x="57977" y="54064"/>
                  </a:moveTo>
                  <a:lnTo>
                    <a:pt x="25280" y="54064"/>
                  </a:lnTo>
                  <a:lnTo>
                    <a:pt x="56480" y="0"/>
                  </a:lnTo>
                  <a:lnTo>
                    <a:pt x="29737" y="0"/>
                  </a:lnTo>
                  <a:lnTo>
                    <a:pt x="0" y="51478"/>
                  </a:lnTo>
                  <a:lnTo>
                    <a:pt x="13371" y="74649"/>
                  </a:lnTo>
                  <a:lnTo>
                    <a:pt x="69851" y="74649"/>
                  </a:lnTo>
                  <a:lnTo>
                    <a:pt x="57977" y="54064"/>
                  </a:lnTo>
                  <a:close/>
                </a:path>
              </a:pathLst>
            </a:custGeom>
            <a:solidFill>
              <a:srgbClr val="FF500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D2822FA1-57B4-C457-EBB9-3469C3BAE449}"/>
                </a:ext>
              </a:extLst>
            </p:cNvPr>
            <p:cNvSpPr/>
            <p:nvPr/>
          </p:nvSpPr>
          <p:spPr>
            <a:xfrm>
              <a:off x="2253908" y="6521396"/>
              <a:ext cx="56377" cy="107754"/>
            </a:xfrm>
            <a:custGeom>
              <a:avLst/>
              <a:gdLst>
                <a:gd name="connsiteX0" fmla="*/ 37461 w 56377"/>
                <a:gd name="connsiteY0" fmla="*/ 39978 h 107754"/>
                <a:gd name="connsiteX1" fmla="*/ 37461 w 56377"/>
                <a:gd name="connsiteY1" fmla="*/ 26811 h 107754"/>
                <a:gd name="connsiteX2" fmla="*/ 27798 w 56377"/>
                <a:gd name="connsiteY2" fmla="*/ 14664 h 107754"/>
                <a:gd name="connsiteX3" fmla="*/ 19019 w 56377"/>
                <a:gd name="connsiteY3" fmla="*/ 25926 h 107754"/>
                <a:gd name="connsiteX4" fmla="*/ 19019 w 56377"/>
                <a:gd name="connsiteY4" fmla="*/ 81284 h 107754"/>
                <a:gd name="connsiteX5" fmla="*/ 28546 w 56377"/>
                <a:gd name="connsiteY5" fmla="*/ 92988 h 107754"/>
                <a:gd name="connsiteX6" fmla="*/ 37495 w 56377"/>
                <a:gd name="connsiteY6" fmla="*/ 80263 h 107754"/>
                <a:gd name="connsiteX7" fmla="*/ 37495 w 56377"/>
                <a:gd name="connsiteY7" fmla="*/ 66755 h 107754"/>
                <a:gd name="connsiteX8" fmla="*/ 56378 w 56377"/>
                <a:gd name="connsiteY8" fmla="*/ 66755 h 107754"/>
                <a:gd name="connsiteX9" fmla="*/ 56378 w 56377"/>
                <a:gd name="connsiteY9" fmla="*/ 81386 h 107754"/>
                <a:gd name="connsiteX10" fmla="*/ 28274 w 56377"/>
                <a:gd name="connsiteY10" fmla="*/ 107754 h 107754"/>
                <a:gd name="connsiteX11" fmla="*/ 8200 w 56377"/>
                <a:gd name="connsiteY11" fmla="*/ 102787 h 107754"/>
                <a:gd name="connsiteX12" fmla="*/ 0 w 56377"/>
                <a:gd name="connsiteY12" fmla="*/ 83597 h 107754"/>
                <a:gd name="connsiteX13" fmla="*/ 0 w 56377"/>
                <a:gd name="connsiteY13" fmla="*/ 27389 h 107754"/>
                <a:gd name="connsiteX14" fmla="*/ 5138 w 56377"/>
                <a:gd name="connsiteY14" fmla="*/ 8200 h 107754"/>
                <a:gd name="connsiteX15" fmla="*/ 28274 w 56377"/>
                <a:gd name="connsiteY15" fmla="*/ 0 h 107754"/>
                <a:gd name="connsiteX16" fmla="*/ 56378 w 56377"/>
                <a:gd name="connsiteY16" fmla="*/ 24021 h 107754"/>
                <a:gd name="connsiteX17" fmla="*/ 56378 w 56377"/>
                <a:gd name="connsiteY17" fmla="*/ 39978 h 107754"/>
                <a:gd name="connsiteX18" fmla="*/ 37461 w 56377"/>
                <a:gd name="connsiteY18" fmla="*/ 39978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77" h="107754">
                  <a:moveTo>
                    <a:pt x="37461" y="39978"/>
                  </a:moveTo>
                  <a:lnTo>
                    <a:pt x="37461" y="26811"/>
                  </a:lnTo>
                  <a:cubicBezTo>
                    <a:pt x="37461" y="19053"/>
                    <a:pt x="36134" y="14664"/>
                    <a:pt x="27798" y="14664"/>
                  </a:cubicBezTo>
                  <a:cubicBezTo>
                    <a:pt x="19462" y="14664"/>
                    <a:pt x="19019" y="21265"/>
                    <a:pt x="19019" y="25926"/>
                  </a:cubicBezTo>
                  <a:lnTo>
                    <a:pt x="19019" y="81284"/>
                  </a:lnTo>
                  <a:cubicBezTo>
                    <a:pt x="19019" y="87442"/>
                    <a:pt x="20040" y="92988"/>
                    <a:pt x="28546" y="92988"/>
                  </a:cubicBezTo>
                  <a:cubicBezTo>
                    <a:pt x="37495" y="92988"/>
                    <a:pt x="37495" y="86557"/>
                    <a:pt x="37495" y="80263"/>
                  </a:cubicBezTo>
                  <a:lnTo>
                    <a:pt x="37495" y="66755"/>
                  </a:lnTo>
                  <a:lnTo>
                    <a:pt x="56378" y="66755"/>
                  </a:lnTo>
                  <a:lnTo>
                    <a:pt x="56378" y="81386"/>
                  </a:lnTo>
                  <a:cubicBezTo>
                    <a:pt x="56378" y="89722"/>
                    <a:pt x="56378" y="107754"/>
                    <a:pt x="28274" y="107754"/>
                  </a:cubicBezTo>
                  <a:cubicBezTo>
                    <a:pt x="22864" y="107754"/>
                    <a:pt x="14222" y="106734"/>
                    <a:pt x="8200" y="102787"/>
                  </a:cubicBezTo>
                  <a:cubicBezTo>
                    <a:pt x="0" y="97377"/>
                    <a:pt x="0" y="89313"/>
                    <a:pt x="0" y="83597"/>
                  </a:cubicBezTo>
                  <a:lnTo>
                    <a:pt x="0" y="27389"/>
                  </a:lnTo>
                  <a:cubicBezTo>
                    <a:pt x="0" y="19053"/>
                    <a:pt x="442" y="13337"/>
                    <a:pt x="5138" y="8200"/>
                  </a:cubicBezTo>
                  <a:cubicBezTo>
                    <a:pt x="12623" y="136"/>
                    <a:pt x="24327" y="0"/>
                    <a:pt x="28274" y="0"/>
                  </a:cubicBezTo>
                  <a:cubicBezTo>
                    <a:pt x="56378" y="0"/>
                    <a:pt x="56378" y="16706"/>
                    <a:pt x="56378" y="24021"/>
                  </a:cubicBezTo>
                  <a:lnTo>
                    <a:pt x="56378" y="39978"/>
                  </a:lnTo>
                  <a:lnTo>
                    <a:pt x="37461" y="39978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7832C09A-7DAA-A2AC-2936-04DA39DFB596}"/>
                </a:ext>
              </a:extLst>
            </p:cNvPr>
            <p:cNvSpPr/>
            <p:nvPr/>
          </p:nvSpPr>
          <p:spPr>
            <a:xfrm>
              <a:off x="2393509" y="6523574"/>
              <a:ext cx="58589" cy="103399"/>
            </a:xfrm>
            <a:custGeom>
              <a:avLst/>
              <a:gdLst>
                <a:gd name="connsiteX0" fmla="*/ 58555 w 58589"/>
                <a:gd name="connsiteY0" fmla="*/ 103399 h 103399"/>
                <a:gd name="connsiteX1" fmla="*/ 34534 w 58589"/>
                <a:gd name="connsiteY1" fmla="*/ 103399 h 103399"/>
                <a:gd name="connsiteX2" fmla="*/ 16093 w 58589"/>
                <a:gd name="connsiteY2" fmla="*/ 25926 h 103399"/>
                <a:gd name="connsiteX3" fmla="*/ 17863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90 w 58589"/>
                <a:gd name="connsiteY9" fmla="*/ 0 h 103399"/>
                <a:gd name="connsiteX10" fmla="*/ 58590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55" y="103399"/>
                  </a:moveTo>
                  <a:lnTo>
                    <a:pt x="34534" y="103399"/>
                  </a:lnTo>
                  <a:lnTo>
                    <a:pt x="16093" y="25926"/>
                  </a:lnTo>
                  <a:lnTo>
                    <a:pt x="17863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90" y="0"/>
                  </a:lnTo>
                  <a:lnTo>
                    <a:pt x="58590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2FB42283-A48E-0EC8-5860-60D0EAF2DA60}"/>
                </a:ext>
              </a:extLst>
            </p:cNvPr>
            <p:cNvSpPr/>
            <p:nvPr/>
          </p:nvSpPr>
          <p:spPr>
            <a:xfrm>
              <a:off x="2467477" y="6523574"/>
              <a:ext cx="58589" cy="103399"/>
            </a:xfrm>
            <a:custGeom>
              <a:avLst/>
              <a:gdLst>
                <a:gd name="connsiteX0" fmla="*/ 58589 w 58589"/>
                <a:gd name="connsiteY0" fmla="*/ 103399 h 103399"/>
                <a:gd name="connsiteX1" fmla="*/ 34568 w 58589"/>
                <a:gd name="connsiteY1" fmla="*/ 103399 h 103399"/>
                <a:gd name="connsiteX2" fmla="*/ 16127 w 58589"/>
                <a:gd name="connsiteY2" fmla="*/ 25926 h 103399"/>
                <a:gd name="connsiteX3" fmla="*/ 17897 w 58589"/>
                <a:gd name="connsiteY3" fmla="*/ 103399 h 103399"/>
                <a:gd name="connsiteX4" fmla="*/ 0 w 58589"/>
                <a:gd name="connsiteY4" fmla="*/ 103399 h 103399"/>
                <a:gd name="connsiteX5" fmla="*/ 0 w 58589"/>
                <a:gd name="connsiteY5" fmla="*/ 0 h 103399"/>
                <a:gd name="connsiteX6" fmla="*/ 24463 w 58589"/>
                <a:gd name="connsiteY6" fmla="*/ 0 h 103399"/>
                <a:gd name="connsiteX7" fmla="*/ 43075 w 58589"/>
                <a:gd name="connsiteY7" fmla="*/ 75840 h 103399"/>
                <a:gd name="connsiteX8" fmla="*/ 41169 w 58589"/>
                <a:gd name="connsiteY8" fmla="*/ 0 h 103399"/>
                <a:gd name="connsiteX9" fmla="*/ 58589 w 58589"/>
                <a:gd name="connsiteY9" fmla="*/ 0 h 103399"/>
                <a:gd name="connsiteX10" fmla="*/ 58589 w 58589"/>
                <a:gd name="connsiteY10" fmla="*/ 103399 h 10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589" h="103399">
                  <a:moveTo>
                    <a:pt x="58589" y="103399"/>
                  </a:moveTo>
                  <a:lnTo>
                    <a:pt x="34568" y="103399"/>
                  </a:lnTo>
                  <a:lnTo>
                    <a:pt x="16127" y="25926"/>
                  </a:lnTo>
                  <a:lnTo>
                    <a:pt x="17897" y="103399"/>
                  </a:lnTo>
                  <a:lnTo>
                    <a:pt x="0" y="103399"/>
                  </a:lnTo>
                  <a:lnTo>
                    <a:pt x="0" y="0"/>
                  </a:lnTo>
                  <a:lnTo>
                    <a:pt x="24463" y="0"/>
                  </a:lnTo>
                  <a:lnTo>
                    <a:pt x="43075" y="75840"/>
                  </a:lnTo>
                  <a:lnTo>
                    <a:pt x="41169" y="0"/>
                  </a:lnTo>
                  <a:lnTo>
                    <a:pt x="58589" y="0"/>
                  </a:lnTo>
                  <a:lnTo>
                    <a:pt x="58589" y="103399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80D4194E-A66F-A549-D200-752A934393F0}"/>
                </a:ext>
              </a:extLst>
            </p:cNvPr>
            <p:cNvSpPr/>
            <p:nvPr/>
          </p:nvSpPr>
          <p:spPr>
            <a:xfrm>
              <a:off x="2540187" y="6523438"/>
              <a:ext cx="51410" cy="103535"/>
            </a:xfrm>
            <a:custGeom>
              <a:avLst/>
              <a:gdLst>
                <a:gd name="connsiteX0" fmla="*/ 0 w 51410"/>
                <a:gd name="connsiteY0" fmla="*/ 0 h 103535"/>
                <a:gd name="connsiteX1" fmla="*/ 50084 w 51410"/>
                <a:gd name="connsiteY1" fmla="*/ 0 h 103535"/>
                <a:gd name="connsiteX2" fmla="*/ 50084 w 51410"/>
                <a:gd name="connsiteY2" fmla="*/ 15821 h 103535"/>
                <a:gd name="connsiteX3" fmla="*/ 19053 w 51410"/>
                <a:gd name="connsiteY3" fmla="*/ 15821 h 103535"/>
                <a:gd name="connsiteX4" fmla="*/ 19053 w 51410"/>
                <a:gd name="connsiteY4" fmla="*/ 40114 h 103535"/>
                <a:gd name="connsiteX5" fmla="*/ 48178 w 51410"/>
                <a:gd name="connsiteY5" fmla="*/ 40114 h 103535"/>
                <a:gd name="connsiteX6" fmla="*/ 48178 w 51410"/>
                <a:gd name="connsiteY6" fmla="*/ 55799 h 103535"/>
                <a:gd name="connsiteX7" fmla="*/ 19053 w 51410"/>
                <a:gd name="connsiteY7" fmla="*/ 55799 h 103535"/>
                <a:gd name="connsiteX8" fmla="*/ 19053 w 51410"/>
                <a:gd name="connsiteY8" fmla="*/ 87578 h 103535"/>
                <a:gd name="connsiteX9" fmla="*/ 51410 w 51410"/>
                <a:gd name="connsiteY9" fmla="*/ 87578 h 103535"/>
                <a:gd name="connsiteX10" fmla="*/ 51410 w 51410"/>
                <a:gd name="connsiteY10" fmla="*/ 103535 h 103535"/>
                <a:gd name="connsiteX11" fmla="*/ 0 w 51410"/>
                <a:gd name="connsiteY11" fmla="*/ 103535 h 103535"/>
                <a:gd name="connsiteX12" fmla="*/ 0 w 51410"/>
                <a:gd name="connsiteY12" fmla="*/ 0 h 10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410" h="103535">
                  <a:moveTo>
                    <a:pt x="0" y="0"/>
                  </a:moveTo>
                  <a:lnTo>
                    <a:pt x="50084" y="0"/>
                  </a:lnTo>
                  <a:lnTo>
                    <a:pt x="50084" y="15821"/>
                  </a:lnTo>
                  <a:lnTo>
                    <a:pt x="19053" y="15821"/>
                  </a:lnTo>
                  <a:lnTo>
                    <a:pt x="19053" y="40114"/>
                  </a:lnTo>
                  <a:lnTo>
                    <a:pt x="48178" y="40114"/>
                  </a:lnTo>
                  <a:lnTo>
                    <a:pt x="48178" y="55799"/>
                  </a:lnTo>
                  <a:lnTo>
                    <a:pt x="19053" y="55799"/>
                  </a:lnTo>
                  <a:lnTo>
                    <a:pt x="19053" y="87578"/>
                  </a:lnTo>
                  <a:lnTo>
                    <a:pt x="51410" y="87578"/>
                  </a:lnTo>
                  <a:lnTo>
                    <a:pt x="51410" y="103535"/>
                  </a:lnTo>
                  <a:lnTo>
                    <a:pt x="0" y="1035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3A0FD4E6-A8BE-F3B9-0716-4A05F8C9CA2E}"/>
                </a:ext>
              </a:extLst>
            </p:cNvPr>
            <p:cNvSpPr/>
            <p:nvPr/>
          </p:nvSpPr>
          <p:spPr>
            <a:xfrm>
              <a:off x="2603301" y="6523574"/>
              <a:ext cx="42462" cy="103365"/>
            </a:xfrm>
            <a:custGeom>
              <a:avLst/>
              <a:gdLst>
                <a:gd name="connsiteX0" fmla="*/ 0 w 42462"/>
                <a:gd name="connsiteY0" fmla="*/ 0 h 103365"/>
                <a:gd name="connsiteX1" fmla="*/ 18883 w 42462"/>
                <a:gd name="connsiteY1" fmla="*/ 0 h 103365"/>
                <a:gd name="connsiteX2" fmla="*/ 18883 w 42462"/>
                <a:gd name="connsiteY2" fmla="*/ 87714 h 103365"/>
                <a:gd name="connsiteX3" fmla="*/ 42462 w 42462"/>
                <a:gd name="connsiteY3" fmla="*/ 87714 h 103365"/>
                <a:gd name="connsiteX4" fmla="*/ 42462 w 42462"/>
                <a:gd name="connsiteY4" fmla="*/ 103365 h 103365"/>
                <a:gd name="connsiteX5" fmla="*/ 0 w 42462"/>
                <a:gd name="connsiteY5" fmla="*/ 103365 h 103365"/>
                <a:gd name="connsiteX6" fmla="*/ 0 w 42462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462" y="87714"/>
                  </a:lnTo>
                  <a:lnTo>
                    <a:pt x="42462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F32C8C57-12F7-133C-A89F-AEBD5735230F}"/>
                </a:ext>
              </a:extLst>
            </p:cNvPr>
            <p:cNvSpPr/>
            <p:nvPr/>
          </p:nvSpPr>
          <p:spPr>
            <a:xfrm>
              <a:off x="2657468" y="6523574"/>
              <a:ext cx="42904" cy="103365"/>
            </a:xfrm>
            <a:custGeom>
              <a:avLst/>
              <a:gdLst>
                <a:gd name="connsiteX0" fmla="*/ 0 w 42904"/>
                <a:gd name="connsiteY0" fmla="*/ 0 h 103365"/>
                <a:gd name="connsiteX1" fmla="*/ 18883 w 42904"/>
                <a:gd name="connsiteY1" fmla="*/ 0 h 103365"/>
                <a:gd name="connsiteX2" fmla="*/ 18883 w 42904"/>
                <a:gd name="connsiteY2" fmla="*/ 87714 h 103365"/>
                <a:gd name="connsiteX3" fmla="*/ 42904 w 42904"/>
                <a:gd name="connsiteY3" fmla="*/ 87714 h 103365"/>
                <a:gd name="connsiteX4" fmla="*/ 42904 w 42904"/>
                <a:gd name="connsiteY4" fmla="*/ 103365 h 103365"/>
                <a:gd name="connsiteX5" fmla="*/ 0 w 42904"/>
                <a:gd name="connsiteY5" fmla="*/ 103365 h 103365"/>
                <a:gd name="connsiteX6" fmla="*/ 0 w 42904"/>
                <a:gd name="connsiteY6" fmla="*/ 0 h 10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904" h="103365">
                  <a:moveTo>
                    <a:pt x="0" y="0"/>
                  </a:moveTo>
                  <a:lnTo>
                    <a:pt x="18883" y="0"/>
                  </a:lnTo>
                  <a:lnTo>
                    <a:pt x="18883" y="87714"/>
                  </a:lnTo>
                  <a:lnTo>
                    <a:pt x="42904" y="87714"/>
                  </a:lnTo>
                  <a:lnTo>
                    <a:pt x="42904" y="103365"/>
                  </a:lnTo>
                  <a:lnTo>
                    <a:pt x="0" y="1033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7070"/>
            </a:soli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AFE302E0-6345-6E1F-1AAA-26F3928B0D7E}"/>
                </a:ext>
              </a:extLst>
            </p:cNvPr>
            <p:cNvSpPr/>
            <p:nvPr/>
          </p:nvSpPr>
          <p:spPr>
            <a:xfrm>
              <a:off x="2323861" y="6521396"/>
              <a:ext cx="57262" cy="107754"/>
            </a:xfrm>
            <a:custGeom>
              <a:avLst/>
              <a:gdLst>
                <a:gd name="connsiteX0" fmla="*/ 57263 w 57262"/>
                <a:gd name="connsiteY0" fmla="*/ 83461 h 107754"/>
                <a:gd name="connsiteX1" fmla="*/ 51683 w 57262"/>
                <a:gd name="connsiteY1" fmla="*/ 100439 h 107754"/>
                <a:gd name="connsiteX2" fmla="*/ 28989 w 57262"/>
                <a:gd name="connsiteY2" fmla="*/ 107754 h 107754"/>
                <a:gd name="connsiteX3" fmla="*/ 0 w 57262"/>
                <a:gd name="connsiteY3" fmla="*/ 83461 h 107754"/>
                <a:gd name="connsiteX4" fmla="*/ 0 w 57262"/>
                <a:gd name="connsiteY4" fmla="*/ 25620 h 107754"/>
                <a:gd name="connsiteX5" fmla="*/ 5410 w 57262"/>
                <a:gd name="connsiteY5" fmla="*/ 7894 h 107754"/>
                <a:gd name="connsiteX6" fmla="*/ 28852 w 57262"/>
                <a:gd name="connsiteY6" fmla="*/ 0 h 107754"/>
                <a:gd name="connsiteX7" fmla="*/ 50390 w 57262"/>
                <a:gd name="connsiteY7" fmla="*/ 6431 h 107754"/>
                <a:gd name="connsiteX8" fmla="*/ 57263 w 57262"/>
                <a:gd name="connsiteY8" fmla="*/ 26062 h 107754"/>
                <a:gd name="connsiteX9" fmla="*/ 57263 w 57262"/>
                <a:gd name="connsiteY9" fmla="*/ 83461 h 107754"/>
                <a:gd name="connsiteX10" fmla="*/ 38107 w 57262"/>
                <a:gd name="connsiteY10" fmla="*/ 27389 h 107754"/>
                <a:gd name="connsiteX11" fmla="*/ 28886 w 57262"/>
                <a:gd name="connsiteY11" fmla="*/ 14494 h 107754"/>
                <a:gd name="connsiteX12" fmla="*/ 19088 w 57262"/>
                <a:gd name="connsiteY12" fmla="*/ 28104 h 107754"/>
                <a:gd name="connsiteX13" fmla="*/ 19088 w 57262"/>
                <a:gd name="connsiteY13" fmla="*/ 80229 h 107754"/>
                <a:gd name="connsiteX14" fmla="*/ 28750 w 57262"/>
                <a:gd name="connsiteY14" fmla="*/ 92818 h 107754"/>
                <a:gd name="connsiteX15" fmla="*/ 38107 w 57262"/>
                <a:gd name="connsiteY15" fmla="*/ 80671 h 107754"/>
                <a:gd name="connsiteX16" fmla="*/ 38107 w 57262"/>
                <a:gd name="connsiteY16" fmla="*/ 27389 h 10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262" h="107754">
                  <a:moveTo>
                    <a:pt x="57263" y="83461"/>
                  </a:moveTo>
                  <a:cubicBezTo>
                    <a:pt x="57263" y="91082"/>
                    <a:pt x="55800" y="96356"/>
                    <a:pt x="51683" y="100439"/>
                  </a:cubicBezTo>
                  <a:cubicBezTo>
                    <a:pt x="45524" y="106870"/>
                    <a:pt x="35861" y="107754"/>
                    <a:pt x="28989" y="107754"/>
                  </a:cubicBezTo>
                  <a:cubicBezTo>
                    <a:pt x="5716" y="107754"/>
                    <a:pt x="0" y="96628"/>
                    <a:pt x="0" y="83461"/>
                  </a:cubicBezTo>
                  <a:lnTo>
                    <a:pt x="0" y="25620"/>
                  </a:lnTo>
                  <a:cubicBezTo>
                    <a:pt x="0" y="21231"/>
                    <a:pt x="136" y="13474"/>
                    <a:pt x="5410" y="7894"/>
                  </a:cubicBezTo>
                  <a:cubicBezTo>
                    <a:pt x="9357" y="3641"/>
                    <a:pt x="17114" y="0"/>
                    <a:pt x="28852" y="0"/>
                  </a:cubicBezTo>
                  <a:cubicBezTo>
                    <a:pt x="38209" y="0"/>
                    <a:pt x="45558" y="2484"/>
                    <a:pt x="50390" y="6431"/>
                  </a:cubicBezTo>
                  <a:cubicBezTo>
                    <a:pt x="55527" y="10684"/>
                    <a:pt x="57263" y="16093"/>
                    <a:pt x="57263" y="26062"/>
                  </a:cubicBezTo>
                  <a:lnTo>
                    <a:pt x="57263" y="83461"/>
                  </a:lnTo>
                  <a:close/>
                  <a:moveTo>
                    <a:pt x="38107" y="27389"/>
                  </a:moveTo>
                  <a:cubicBezTo>
                    <a:pt x="38107" y="21980"/>
                    <a:pt x="38107" y="14494"/>
                    <a:pt x="28886" y="14494"/>
                  </a:cubicBezTo>
                  <a:cubicBezTo>
                    <a:pt x="19088" y="14494"/>
                    <a:pt x="19088" y="22388"/>
                    <a:pt x="19088" y="28104"/>
                  </a:cubicBezTo>
                  <a:lnTo>
                    <a:pt x="19088" y="80229"/>
                  </a:lnTo>
                  <a:cubicBezTo>
                    <a:pt x="19088" y="86081"/>
                    <a:pt x="19394" y="92818"/>
                    <a:pt x="28750" y="92818"/>
                  </a:cubicBezTo>
                  <a:cubicBezTo>
                    <a:pt x="38107" y="92818"/>
                    <a:pt x="38107" y="85639"/>
                    <a:pt x="38107" y="80671"/>
                  </a:cubicBezTo>
                  <a:lnTo>
                    <a:pt x="38107" y="27389"/>
                  </a:lnTo>
                  <a:close/>
                </a:path>
              </a:pathLst>
            </a:custGeom>
            <a:gradFill>
              <a:gsLst>
                <a:gs pos="0">
                  <a:srgbClr val="3AAA35"/>
                </a:gs>
                <a:gs pos="25000">
                  <a:srgbClr val="F39323"/>
                </a:gs>
                <a:gs pos="50000">
                  <a:srgbClr val="E52629"/>
                </a:gs>
                <a:gs pos="75000">
                  <a:srgbClr val="662681"/>
                </a:gs>
                <a:gs pos="100000">
                  <a:srgbClr val="189CD9"/>
                </a:gs>
              </a:gsLst>
              <a:lin ang="20400000" scaled="1"/>
            </a:gradFill>
            <a:ln w="3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2831793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76" r:id="rId2"/>
    <p:sldLayoutId id="2147483655" r:id="rId3"/>
    <p:sldLayoutId id="2147483767" r:id="rId4"/>
    <p:sldLayoutId id="2147483769" r:id="rId5"/>
    <p:sldLayoutId id="2147483729" r:id="rId6"/>
    <p:sldLayoutId id="2147483758" r:id="rId7"/>
    <p:sldLayoutId id="2147483773" r:id="rId8"/>
    <p:sldLayoutId id="2147483774" r:id="rId9"/>
    <p:sldLayoutId id="2147483658" r:id="rId10"/>
    <p:sldLayoutId id="2147483660" r:id="rId11"/>
    <p:sldLayoutId id="2147483659" r:id="rId12"/>
    <p:sldLayoutId id="2147483772" r:id="rId13"/>
    <p:sldLayoutId id="2147483661" r:id="rId14"/>
    <p:sldLayoutId id="2147483685" r:id="rId15"/>
    <p:sldLayoutId id="2147483775" r:id="rId16"/>
    <p:sldLayoutId id="2147483727" r:id="rId17"/>
    <p:sldLayoutId id="2147483701" r:id="rId18"/>
    <p:sldLayoutId id="2147483712" r:id="rId19"/>
    <p:sldLayoutId id="2147483721" r:id="rId20"/>
    <p:sldLayoutId id="2147483708" r:id="rId21"/>
    <p:sldLayoutId id="2147483718" r:id="rId22"/>
    <p:sldLayoutId id="2147483681" r:id="rId23"/>
    <p:sldLayoutId id="2147483695" r:id="rId24"/>
    <p:sldLayoutId id="2147483716" r:id="rId25"/>
    <p:sldLayoutId id="2147483771" r:id="rId26"/>
    <p:sldLayoutId id="2147483725" r:id="rId27"/>
    <p:sldLayoutId id="2147483726" r:id="rId28"/>
    <p:sldLayoutId id="2147483760" r:id="rId29"/>
    <p:sldLayoutId id="2147483761" r:id="rId30"/>
    <p:sldLayoutId id="2147483762" r:id="rId31"/>
    <p:sldLayoutId id="2147483763" r:id="rId32"/>
    <p:sldLayoutId id="2147483764" r:id="rId33"/>
    <p:sldLayoutId id="2147483765" r:id="rId34"/>
    <p:sldLayoutId id="2147483766" r:id="rId35"/>
    <p:sldLayoutId id="2147483728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1938" indent="-261938" algn="l" defTabSz="719138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74638" algn="l" defTabSz="719138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0000"/>
        <a:buFont typeface="Calibri Light" panose="020F0302020204030204" pitchFamily="34" charset="0"/>
        <a:buChar char="─"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719138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rgbClr val="0070C0"/>
        </a:buClr>
        <a:buSzPct val="85000"/>
        <a:buFont typeface="Arial" panose="020B0604020202020204" pitchFamily="34" charset="0"/>
        <a:buNone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719138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cap="none" spc="30" baseline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4pPr>
      <a:lvl5pPr marL="271463" indent="-271463" algn="l" defTabSz="719138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+mj-lt"/>
        <a:buAutoNum type="arabicPeriod"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61938" indent="-261938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6575" indent="-274638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0000"/>
        <a:buFont typeface="Calibri Light" panose="020F0302020204030204" pitchFamily="34" charset="0"/>
        <a:buChar char="─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1" kern="1200" cap="none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709" userDrawn="1">
          <p15:clr>
            <a:srgbClr val="F26B43"/>
          </p15:clr>
        </p15:guide>
        <p15:guide id="3" orient="horz" pos="1002" userDrawn="1">
          <p15:clr>
            <a:srgbClr val="F26B43"/>
          </p15:clr>
        </p15:guide>
        <p15:guide id="5" orient="horz" pos="3974" userDrawn="1">
          <p15:clr>
            <a:srgbClr val="F26B43"/>
          </p15:clr>
        </p15:guide>
        <p15:guide id="6" pos="347" userDrawn="1">
          <p15:clr>
            <a:srgbClr val="F26B43"/>
          </p15:clr>
        </p15:guide>
        <p15:guide id="7" pos="73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verticale tekst 17">
            <a:extLst>
              <a:ext uri="{FF2B5EF4-FFF2-40B4-BE49-F238E27FC236}">
                <a16:creationId xmlns:a16="http://schemas.microsoft.com/office/drawing/2014/main" id="{E328EADB-9AAC-D513-905F-AE3DB28DA592}"/>
              </a:ext>
            </a:extLst>
          </p:cNvPr>
          <p:cNvSpPr>
            <a:spLocks noGrp="1"/>
          </p:cNvSpPr>
          <p:nvPr>
            <p:ph type="body" orient="vert" idx="2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847C434C-7C09-A3A2-8337-240C9DE7DF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ower BI – Dashboard </a:t>
            </a:r>
            <a:r>
              <a:rPr lang="nl-NL" dirty="0" err="1"/>
              <a:t>Instructions</a:t>
            </a:r>
            <a:endParaRPr lang="nl-NL" dirty="0"/>
          </a:p>
        </p:txBody>
      </p:sp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15970C02-71E8-321E-910E-73C55CD841C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DB58F7-3113-5B81-165C-8536D6C7D82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9861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9A5BABD-1CE4-6F29-34E2-DED4E3815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rket Overview: Size, Import Data, Price, and Ingredients</a:t>
            </a:r>
            <a:endParaRPr lang="en-IN" dirty="0"/>
          </a:p>
        </p:txBody>
      </p:sp>
      <p:graphicFrame>
        <p:nvGraphicFramePr>
          <p:cNvPr id="7" name="Table Placeholder 6">
            <a:extLst>
              <a:ext uri="{FF2B5EF4-FFF2-40B4-BE49-F238E27FC236}">
                <a16:creationId xmlns:a16="http://schemas.microsoft.com/office/drawing/2014/main" id="{4EAEC723-4E7A-00E1-F3D1-75AF16745B50}"/>
              </a:ext>
            </a:extLst>
          </p:cNvPr>
          <p:cNvGraphicFramePr>
            <a:graphicFrameLocks noGrp="1"/>
          </p:cNvGraphicFramePr>
          <p:nvPr>
            <p:ph type="tbl" sz="quarter" idx="15"/>
            <p:extLst>
              <p:ext uri="{D42A27DB-BD31-4B8C-83A1-F6EECF244321}">
                <p14:modId xmlns:p14="http://schemas.microsoft.com/office/powerpoint/2010/main" val="3263295364"/>
              </p:ext>
            </p:extLst>
          </p:nvPr>
        </p:nvGraphicFramePr>
        <p:xfrm>
          <a:off x="552451" y="968894"/>
          <a:ext cx="11545452" cy="3622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0204">
                  <a:extLst>
                    <a:ext uri="{9D8B030D-6E8A-4147-A177-3AD203B41FA5}">
                      <a16:colId xmlns:a16="http://schemas.microsoft.com/office/drawing/2014/main" val="541485412"/>
                    </a:ext>
                  </a:extLst>
                </a:gridCol>
                <a:gridCol w="1403927">
                  <a:extLst>
                    <a:ext uri="{9D8B030D-6E8A-4147-A177-3AD203B41FA5}">
                      <a16:colId xmlns:a16="http://schemas.microsoft.com/office/drawing/2014/main" val="4145687626"/>
                    </a:ext>
                  </a:extLst>
                </a:gridCol>
                <a:gridCol w="1505527">
                  <a:extLst>
                    <a:ext uri="{9D8B030D-6E8A-4147-A177-3AD203B41FA5}">
                      <a16:colId xmlns:a16="http://schemas.microsoft.com/office/drawing/2014/main" val="1749454460"/>
                    </a:ext>
                  </a:extLst>
                </a:gridCol>
                <a:gridCol w="1681018">
                  <a:extLst>
                    <a:ext uri="{9D8B030D-6E8A-4147-A177-3AD203B41FA5}">
                      <a16:colId xmlns:a16="http://schemas.microsoft.com/office/drawing/2014/main" val="2513571156"/>
                    </a:ext>
                  </a:extLst>
                </a:gridCol>
                <a:gridCol w="1385455">
                  <a:extLst>
                    <a:ext uri="{9D8B030D-6E8A-4147-A177-3AD203B41FA5}">
                      <a16:colId xmlns:a16="http://schemas.microsoft.com/office/drawing/2014/main" val="4124332840"/>
                    </a:ext>
                  </a:extLst>
                </a:gridCol>
                <a:gridCol w="3009321">
                  <a:extLst>
                    <a:ext uri="{9D8B030D-6E8A-4147-A177-3AD203B41FA5}">
                      <a16:colId xmlns:a16="http://schemas.microsoft.com/office/drawing/2014/main" val="3701910747"/>
                    </a:ext>
                  </a:extLst>
                </a:gridCol>
              </a:tblGrid>
              <a:tr h="4498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unt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ket siz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mport siz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ice(USD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gredient</a:t>
                      </a:r>
                      <a:r>
                        <a:rPr lang="en-IN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en-IN" sz="14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07618294"/>
                  </a:ext>
                </a:extLst>
              </a:tr>
              <a:tr h="35098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cithin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Myanma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73275297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Lecithin</a:t>
                      </a:r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en-IN" sz="1400" b="0" i="0" u="none" strike="noStrike">
                        <a:solidFill>
                          <a:srgbClr val="26262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Taiw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2785513942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cithin  | Xanthan Gum</a:t>
                      </a: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Vietna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2717594061"/>
                  </a:ext>
                </a:extLst>
              </a:tr>
              <a:tr h="2676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anthan Gu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1488220662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anthan Gu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 dirty="0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800" b="0" i="0" u="none" strike="noStrike" dirty="0">
                        <a:solidFill>
                          <a:srgbClr val="4D4D4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 dirty="0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800" b="0" i="0" u="none" strike="noStrike" dirty="0">
                        <a:solidFill>
                          <a:srgbClr val="4D4D4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2252172910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anthan Gu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Philippin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3811072086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st Extrac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22614464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st Extrac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Indones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-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926205959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Yeast Extrac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Thai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731044030"/>
                  </a:ext>
                </a:extLst>
              </a:tr>
              <a:tr h="3175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st Extract | Xanthan Gu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262626"/>
                          </a:solidFill>
                          <a:effectLst/>
                          <a:latin typeface="Calibri" panose="020F0502020204030204" pitchFamily="34" charset="0"/>
                        </a:rPr>
                        <a:t>South Kore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>
                          <a:solidFill>
                            <a:srgbClr val="4D4D4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R="7620" marT="7620" marB="0" anchor="ctr"/>
                </a:tc>
                <a:extLst>
                  <a:ext uri="{0D108BD9-81ED-4DB2-BD59-A6C34878D82A}">
                    <a16:rowId xmlns:a16="http://schemas.microsoft.com/office/drawing/2014/main" val="3405278805"/>
                  </a:ext>
                </a:extLst>
              </a:tr>
            </a:tbl>
          </a:graphicData>
        </a:graphic>
      </p:graphicFrame>
      <p:pic>
        <p:nvPicPr>
          <p:cNvPr id="10" name="Graphic 9" descr="Badge Tick1 with solid fill">
            <a:extLst>
              <a:ext uri="{FF2B5EF4-FFF2-40B4-BE49-F238E27FC236}">
                <a16:creationId xmlns:a16="http://schemas.microsoft.com/office/drawing/2014/main" id="{7E57890B-195B-3A3C-39B3-4E37B40453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4132" y="3368207"/>
            <a:ext cx="230909" cy="230909"/>
          </a:xfrm>
          <a:prstGeom prst="rect">
            <a:avLst/>
          </a:prstGeom>
        </p:spPr>
      </p:pic>
      <p:pic>
        <p:nvPicPr>
          <p:cNvPr id="18" name="Graphic 17" descr="Badge Tick1 with solid fill">
            <a:extLst>
              <a:ext uri="{FF2B5EF4-FFF2-40B4-BE49-F238E27FC236}">
                <a16:creationId xmlns:a16="http://schemas.microsoft.com/office/drawing/2014/main" id="{AC5EB300-3270-C302-D057-38757FCDB6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368" y="1462875"/>
            <a:ext cx="230909" cy="230909"/>
          </a:xfrm>
          <a:prstGeom prst="rect">
            <a:avLst/>
          </a:prstGeom>
        </p:spPr>
      </p:pic>
      <p:pic>
        <p:nvPicPr>
          <p:cNvPr id="20" name="Graphic 19" descr="Badge Tick1 with solid fill">
            <a:extLst>
              <a:ext uri="{FF2B5EF4-FFF2-40B4-BE49-F238E27FC236}">
                <a16:creationId xmlns:a16="http://schemas.microsoft.com/office/drawing/2014/main" id="{802FF67B-DAF7-A4B1-BCD1-86534BBFD5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368" y="1809502"/>
            <a:ext cx="230909" cy="230909"/>
          </a:xfrm>
          <a:prstGeom prst="rect">
            <a:avLst/>
          </a:prstGeom>
        </p:spPr>
      </p:pic>
      <p:pic>
        <p:nvPicPr>
          <p:cNvPr id="21" name="Graphic 20" descr="Badge Tick1 with solid fill">
            <a:extLst>
              <a:ext uri="{FF2B5EF4-FFF2-40B4-BE49-F238E27FC236}">
                <a16:creationId xmlns:a16="http://schemas.microsoft.com/office/drawing/2014/main" id="{00EDD7A9-5503-D6E3-20D1-E713462BBB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8880" y="1833986"/>
            <a:ext cx="230909" cy="230909"/>
          </a:xfrm>
          <a:prstGeom prst="rect">
            <a:avLst/>
          </a:prstGeom>
        </p:spPr>
      </p:pic>
      <p:pic>
        <p:nvPicPr>
          <p:cNvPr id="22" name="Graphic 21" descr="Badge Tick1 with solid fill">
            <a:extLst>
              <a:ext uri="{FF2B5EF4-FFF2-40B4-BE49-F238E27FC236}">
                <a16:creationId xmlns:a16="http://schemas.microsoft.com/office/drawing/2014/main" id="{79930E6E-27EA-F964-F518-6131C4A59E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2130210"/>
            <a:ext cx="230909" cy="230909"/>
          </a:xfrm>
          <a:prstGeom prst="rect">
            <a:avLst/>
          </a:prstGeom>
        </p:spPr>
      </p:pic>
      <p:pic>
        <p:nvPicPr>
          <p:cNvPr id="23" name="Graphic 22" descr="Badge Tick1 with solid fill">
            <a:extLst>
              <a:ext uri="{FF2B5EF4-FFF2-40B4-BE49-F238E27FC236}">
                <a16:creationId xmlns:a16="http://schemas.microsoft.com/office/drawing/2014/main" id="{09AEA3BE-263A-662A-A1E2-8D8182F8A0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367" y="2136765"/>
            <a:ext cx="230909" cy="230909"/>
          </a:xfrm>
          <a:prstGeom prst="rect">
            <a:avLst/>
          </a:prstGeom>
        </p:spPr>
      </p:pic>
      <p:pic>
        <p:nvPicPr>
          <p:cNvPr id="24" name="Graphic 23" descr="Badge Tick1 with solid fill">
            <a:extLst>
              <a:ext uri="{FF2B5EF4-FFF2-40B4-BE49-F238E27FC236}">
                <a16:creationId xmlns:a16="http://schemas.microsoft.com/office/drawing/2014/main" id="{2B55D761-5D52-30AE-BA27-96B63EAC0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2434358"/>
            <a:ext cx="230909" cy="230909"/>
          </a:xfrm>
          <a:prstGeom prst="rect">
            <a:avLst/>
          </a:prstGeom>
        </p:spPr>
      </p:pic>
      <p:pic>
        <p:nvPicPr>
          <p:cNvPr id="25" name="Graphic 24" descr="Badge Tick1 with solid fill">
            <a:extLst>
              <a:ext uri="{FF2B5EF4-FFF2-40B4-BE49-F238E27FC236}">
                <a16:creationId xmlns:a16="http://schemas.microsoft.com/office/drawing/2014/main" id="{7F3BC426-7F9F-8AA9-E5AD-04C5F36462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2738662"/>
            <a:ext cx="230909" cy="230909"/>
          </a:xfrm>
          <a:prstGeom prst="rect">
            <a:avLst/>
          </a:prstGeom>
        </p:spPr>
      </p:pic>
      <p:pic>
        <p:nvPicPr>
          <p:cNvPr id="26" name="Graphic 25" descr="Badge Tick1 with solid fill">
            <a:extLst>
              <a:ext uri="{FF2B5EF4-FFF2-40B4-BE49-F238E27FC236}">
                <a16:creationId xmlns:a16="http://schemas.microsoft.com/office/drawing/2014/main" id="{14AB00F8-2D7A-88A9-2780-E148824478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3970" y="2434358"/>
            <a:ext cx="230909" cy="230909"/>
          </a:xfrm>
          <a:prstGeom prst="rect">
            <a:avLst/>
          </a:prstGeom>
        </p:spPr>
      </p:pic>
      <p:pic>
        <p:nvPicPr>
          <p:cNvPr id="27" name="Graphic 26" descr="Badge Tick1 with solid fill">
            <a:extLst>
              <a:ext uri="{FF2B5EF4-FFF2-40B4-BE49-F238E27FC236}">
                <a16:creationId xmlns:a16="http://schemas.microsoft.com/office/drawing/2014/main" id="{F806C35A-13B1-3309-C279-872CF078AD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3360161"/>
            <a:ext cx="230909" cy="230909"/>
          </a:xfrm>
          <a:prstGeom prst="rect">
            <a:avLst/>
          </a:prstGeom>
        </p:spPr>
      </p:pic>
      <p:pic>
        <p:nvPicPr>
          <p:cNvPr id="28" name="Graphic 27" descr="Badge Tick1 with solid fill">
            <a:extLst>
              <a:ext uri="{FF2B5EF4-FFF2-40B4-BE49-F238E27FC236}">
                <a16:creationId xmlns:a16="http://schemas.microsoft.com/office/drawing/2014/main" id="{0F884FBC-6C41-1204-DA70-BC747EC1D7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367" y="2752486"/>
            <a:ext cx="230909" cy="230909"/>
          </a:xfrm>
          <a:prstGeom prst="rect">
            <a:avLst/>
          </a:prstGeom>
        </p:spPr>
      </p:pic>
      <p:pic>
        <p:nvPicPr>
          <p:cNvPr id="29" name="Graphic 28" descr="Badge Tick1 with solid fill">
            <a:extLst>
              <a:ext uri="{FF2B5EF4-FFF2-40B4-BE49-F238E27FC236}">
                <a16:creationId xmlns:a16="http://schemas.microsoft.com/office/drawing/2014/main" id="{0D6A2E39-3446-510B-F0B8-AD165077E8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3080539"/>
            <a:ext cx="230909" cy="230909"/>
          </a:xfrm>
          <a:prstGeom prst="rect">
            <a:avLst/>
          </a:prstGeom>
        </p:spPr>
      </p:pic>
      <p:pic>
        <p:nvPicPr>
          <p:cNvPr id="30" name="Graphic 29" descr="Badge Tick1 with solid fill">
            <a:extLst>
              <a:ext uri="{FF2B5EF4-FFF2-40B4-BE49-F238E27FC236}">
                <a16:creationId xmlns:a16="http://schemas.microsoft.com/office/drawing/2014/main" id="{724DDC97-9317-CF73-584E-CAC3481701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367" y="3061987"/>
            <a:ext cx="230909" cy="230909"/>
          </a:xfrm>
          <a:prstGeom prst="rect">
            <a:avLst/>
          </a:prstGeom>
        </p:spPr>
      </p:pic>
      <p:pic>
        <p:nvPicPr>
          <p:cNvPr id="31" name="Graphic 30" descr="Badge Tick1 with solid fill">
            <a:extLst>
              <a:ext uri="{FF2B5EF4-FFF2-40B4-BE49-F238E27FC236}">
                <a16:creationId xmlns:a16="http://schemas.microsoft.com/office/drawing/2014/main" id="{4264EC7B-C65F-AD63-2C83-E22D9E1AB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3688822"/>
            <a:ext cx="230909" cy="230909"/>
          </a:xfrm>
          <a:prstGeom prst="rect">
            <a:avLst/>
          </a:prstGeom>
        </p:spPr>
      </p:pic>
      <p:pic>
        <p:nvPicPr>
          <p:cNvPr id="32" name="Graphic 31" descr="Badge Tick1 with solid fill">
            <a:extLst>
              <a:ext uri="{FF2B5EF4-FFF2-40B4-BE49-F238E27FC236}">
                <a16:creationId xmlns:a16="http://schemas.microsoft.com/office/drawing/2014/main" id="{6B00AD19-85F2-C525-CA3E-E8642723C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4013302"/>
            <a:ext cx="230909" cy="230909"/>
          </a:xfrm>
          <a:prstGeom prst="rect">
            <a:avLst/>
          </a:prstGeom>
        </p:spPr>
      </p:pic>
      <p:pic>
        <p:nvPicPr>
          <p:cNvPr id="33" name="Graphic 32" descr="Badge Tick1 with solid fill">
            <a:extLst>
              <a:ext uri="{FF2B5EF4-FFF2-40B4-BE49-F238E27FC236}">
                <a16:creationId xmlns:a16="http://schemas.microsoft.com/office/drawing/2014/main" id="{00669786-48E3-C4AD-3834-34F448DEFF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367" y="3368207"/>
            <a:ext cx="230909" cy="230909"/>
          </a:xfrm>
          <a:prstGeom prst="rect">
            <a:avLst/>
          </a:prstGeom>
        </p:spPr>
      </p:pic>
      <p:pic>
        <p:nvPicPr>
          <p:cNvPr id="34" name="Graphic 33" descr="Badge Tick1 with solid fill">
            <a:extLst>
              <a:ext uri="{FF2B5EF4-FFF2-40B4-BE49-F238E27FC236}">
                <a16:creationId xmlns:a16="http://schemas.microsoft.com/office/drawing/2014/main" id="{01F54391-96F3-2129-18A2-F7DEEB7E07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367" y="3673800"/>
            <a:ext cx="230909" cy="230909"/>
          </a:xfrm>
          <a:prstGeom prst="rect">
            <a:avLst/>
          </a:prstGeom>
        </p:spPr>
      </p:pic>
      <p:pic>
        <p:nvPicPr>
          <p:cNvPr id="35" name="Graphic 34" descr="Badge Tick1 with solid fill">
            <a:extLst>
              <a:ext uri="{FF2B5EF4-FFF2-40B4-BE49-F238E27FC236}">
                <a16:creationId xmlns:a16="http://schemas.microsoft.com/office/drawing/2014/main" id="{3F3447D3-A936-D884-8727-79BFFC6E08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46961" y="1549552"/>
            <a:ext cx="230909" cy="230909"/>
          </a:xfrm>
          <a:prstGeom prst="rect">
            <a:avLst/>
          </a:prstGeom>
        </p:spPr>
      </p:pic>
      <p:pic>
        <p:nvPicPr>
          <p:cNvPr id="36" name="Graphic 35" descr="Badge Tick1 with solid fill">
            <a:extLst>
              <a:ext uri="{FF2B5EF4-FFF2-40B4-BE49-F238E27FC236}">
                <a16:creationId xmlns:a16="http://schemas.microsoft.com/office/drawing/2014/main" id="{DE1DFE0F-7095-C8F0-CDF9-C12B7CA59C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0394" y="3372874"/>
            <a:ext cx="230909" cy="230909"/>
          </a:xfrm>
          <a:prstGeom prst="rect">
            <a:avLst/>
          </a:prstGeom>
        </p:spPr>
      </p:pic>
      <p:pic>
        <p:nvPicPr>
          <p:cNvPr id="37" name="Graphic 36" descr="Badge Tick1 with solid fill">
            <a:extLst>
              <a:ext uri="{FF2B5EF4-FFF2-40B4-BE49-F238E27FC236}">
                <a16:creationId xmlns:a16="http://schemas.microsoft.com/office/drawing/2014/main" id="{185443D7-1F72-72BD-FEF0-A0F24B549A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82809" y="3986622"/>
            <a:ext cx="230909" cy="230909"/>
          </a:xfrm>
          <a:prstGeom prst="rect">
            <a:avLst/>
          </a:prstGeom>
        </p:spPr>
      </p:pic>
      <p:pic>
        <p:nvPicPr>
          <p:cNvPr id="38" name="Graphic 37" descr="Badge Tick1 with solid fill">
            <a:extLst>
              <a:ext uri="{FF2B5EF4-FFF2-40B4-BE49-F238E27FC236}">
                <a16:creationId xmlns:a16="http://schemas.microsoft.com/office/drawing/2014/main" id="{D2E7750C-F5BC-1003-538B-C74F72E44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8879" y="4311857"/>
            <a:ext cx="230909" cy="230909"/>
          </a:xfrm>
          <a:prstGeom prst="rect">
            <a:avLst/>
          </a:prstGeom>
        </p:spPr>
      </p:pic>
      <p:pic>
        <p:nvPicPr>
          <p:cNvPr id="2" name="Graphic 1" descr="Badge Tick1 with solid fill">
            <a:extLst>
              <a:ext uri="{FF2B5EF4-FFF2-40B4-BE49-F238E27FC236}">
                <a16:creationId xmlns:a16="http://schemas.microsoft.com/office/drawing/2014/main" id="{7F378B06-E04A-D930-B1EA-1C266A7290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65497" y="4326380"/>
            <a:ext cx="230909" cy="23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530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ertical Text Placeholder 4">
            <a:extLst>
              <a:ext uri="{FF2B5EF4-FFF2-40B4-BE49-F238E27FC236}">
                <a16:creationId xmlns:a16="http://schemas.microsoft.com/office/drawing/2014/main" id="{BE60452D-A441-3572-4F77-C571F6DAE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894751" y="1417018"/>
            <a:ext cx="7746386" cy="5440982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US" u="sng" dirty="0">
                <a:solidFill>
                  <a:schemeClr val="tx1">
                    <a:lumMod val="50000"/>
                  </a:schemeClr>
                </a:solidFill>
              </a:rPr>
              <a:t>ingredient by product file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has volumes in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tonnes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, while the industry file has values in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kilograms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.</a:t>
            </a:r>
          </a:p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To analyze multiple parameters, ingredients, or applications,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press Ctrl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and select the desired parameters.</a:t>
            </a:r>
          </a:p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For the industry file, we converted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tonnes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to 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kilograms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 by multiplying with 1,000.</a:t>
            </a:r>
          </a:p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In the </a:t>
            </a:r>
            <a:r>
              <a:rPr lang="en-US" u="sng" dirty="0">
                <a:solidFill>
                  <a:schemeClr val="tx1">
                    <a:lumMod val="50000"/>
                  </a:schemeClr>
                </a:solidFill>
              </a:rPr>
              <a:t>ingredient by product file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, import data and price are currently available for India only; any blank values have been replaced with 0.</a:t>
            </a:r>
          </a:p>
          <a:p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In the </a:t>
            </a:r>
            <a:r>
              <a:rPr lang="en-US" u="sng" dirty="0">
                <a:solidFill>
                  <a:schemeClr val="tx1">
                    <a:lumMod val="50000"/>
                  </a:schemeClr>
                </a:solidFill>
              </a:rPr>
              <a:t>industry plan file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, we only have two parameters: kilograms and price; if a value is not calculable, we've replaced the blank with 0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E5E7CD-CFC9-A4C3-D888-C631F89DF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235A86-8055-3AB5-1495-725A2DD7F38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0085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390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7B55C1E-F3B4-D169-EF89-E0446A19F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t 1- Master File</a:t>
            </a:r>
            <a:br>
              <a:rPr lang="nl-NL" dirty="0"/>
            </a:br>
            <a:r>
              <a:rPr lang="nl-NL" dirty="0" err="1"/>
              <a:t>Industry</a:t>
            </a:r>
            <a:r>
              <a:rPr lang="nl-NL" dirty="0"/>
              <a:t> Plan</a:t>
            </a:r>
          </a:p>
        </p:txBody>
      </p:sp>
    </p:spTree>
    <p:extLst>
      <p:ext uri="{BB962C8B-B14F-4D97-AF65-F5344CB8AC3E}">
        <p14:creationId xmlns:p14="http://schemas.microsoft.com/office/powerpoint/2010/main" val="282447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8F8D758-4EFE-25DE-C819-975D85BC4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heet 1 : Category Analysis</a:t>
            </a:r>
          </a:p>
        </p:txBody>
      </p:sp>
      <p:pic>
        <p:nvPicPr>
          <p:cNvPr id="2" name="Content Placeholder 8">
            <a:extLst>
              <a:ext uri="{FF2B5EF4-FFF2-40B4-BE49-F238E27FC236}">
                <a16:creationId xmlns:a16="http://schemas.microsoft.com/office/drawing/2014/main" id="{902CEF08-00E0-8FF3-2059-D8E63374D2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3956" y="1125538"/>
            <a:ext cx="8544127" cy="473844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3690A7C-C2FD-3E04-147A-889FE18FA381}"/>
              </a:ext>
            </a:extLst>
          </p:cNvPr>
          <p:cNvSpPr/>
          <p:nvPr/>
        </p:nvSpPr>
        <p:spPr>
          <a:xfrm>
            <a:off x="2183373" y="2108570"/>
            <a:ext cx="1284827" cy="107004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30F9377-1599-04CF-7FBB-F45B043A6CB8}"/>
              </a:ext>
            </a:extLst>
          </p:cNvPr>
          <p:cNvSpPr/>
          <p:nvPr/>
        </p:nvSpPr>
        <p:spPr>
          <a:xfrm>
            <a:off x="2183373" y="3246706"/>
            <a:ext cx="1284827" cy="2055805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084583-2319-90EB-204E-7EE75FC6B502}"/>
              </a:ext>
            </a:extLst>
          </p:cNvPr>
          <p:cNvSpPr/>
          <p:nvPr/>
        </p:nvSpPr>
        <p:spPr>
          <a:xfrm>
            <a:off x="2183373" y="5395673"/>
            <a:ext cx="1284827" cy="375149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B7DC3E-6D5E-263C-F93A-4D45DB5B843E}"/>
              </a:ext>
            </a:extLst>
          </p:cNvPr>
          <p:cNvSpPr/>
          <p:nvPr/>
        </p:nvSpPr>
        <p:spPr>
          <a:xfrm>
            <a:off x="3549264" y="3246706"/>
            <a:ext cx="3367815" cy="25241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EFFBACD-E973-AEF3-B753-5F2C9E7D27E2}"/>
              </a:ext>
            </a:extLst>
          </p:cNvPr>
          <p:cNvSpPr/>
          <p:nvPr/>
        </p:nvSpPr>
        <p:spPr>
          <a:xfrm>
            <a:off x="3549263" y="1125538"/>
            <a:ext cx="6897757" cy="2061534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78AC5B-7769-D729-8DA4-B2784BAFEB24}"/>
              </a:ext>
            </a:extLst>
          </p:cNvPr>
          <p:cNvSpPr/>
          <p:nvPr/>
        </p:nvSpPr>
        <p:spPr>
          <a:xfrm>
            <a:off x="6998142" y="3246706"/>
            <a:ext cx="3448878" cy="252411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Callout: Bent Line 10">
            <a:extLst>
              <a:ext uri="{FF2B5EF4-FFF2-40B4-BE49-F238E27FC236}">
                <a16:creationId xmlns:a16="http://schemas.microsoft.com/office/drawing/2014/main" id="{55FF00C4-EF2D-22D5-79E9-BB97C504F148}"/>
              </a:ext>
            </a:extLst>
          </p:cNvPr>
          <p:cNvSpPr/>
          <p:nvPr/>
        </p:nvSpPr>
        <p:spPr>
          <a:xfrm flipH="1">
            <a:off x="216767" y="1632457"/>
            <a:ext cx="1284050" cy="738760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140182"/>
              <a:gd name="adj6" fmla="val -52832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desired year</a:t>
            </a:r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" name="Callout: Bent Line with Border and Accent Bar 11">
            <a:extLst>
              <a:ext uri="{FF2B5EF4-FFF2-40B4-BE49-F238E27FC236}">
                <a16:creationId xmlns:a16="http://schemas.microsoft.com/office/drawing/2014/main" id="{1F30C19C-1F20-3F4F-CC48-3A7F1B4B0A8A}"/>
              </a:ext>
            </a:extLst>
          </p:cNvPr>
          <p:cNvSpPr/>
          <p:nvPr/>
        </p:nvSpPr>
        <p:spPr>
          <a:xfrm flipH="1">
            <a:off x="216760" y="2526863"/>
            <a:ext cx="1284051" cy="2079003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705"/>
              <a:gd name="adj6" fmla="val -5344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Select the primary categories or sub-categories to analyze each one's contribution. You can select multiple categories as well. Hold down the Ctrl key while making your selections.</a:t>
            </a:r>
            <a:endParaRPr lang="en-IN" sz="1100" dirty="0">
              <a:solidFill>
                <a:schemeClr val="tx1"/>
              </a:solidFill>
            </a:endParaRPr>
          </a:p>
        </p:txBody>
      </p:sp>
      <p:sp>
        <p:nvSpPr>
          <p:cNvPr id="13" name="Callout: Bent Line with Border and Accent Bar 12">
            <a:extLst>
              <a:ext uri="{FF2B5EF4-FFF2-40B4-BE49-F238E27FC236}">
                <a16:creationId xmlns:a16="http://schemas.microsoft.com/office/drawing/2014/main" id="{A0B2D0A1-B6F1-8BEF-21E7-D4FA083951FD}"/>
              </a:ext>
            </a:extLst>
          </p:cNvPr>
          <p:cNvSpPr/>
          <p:nvPr/>
        </p:nvSpPr>
        <p:spPr>
          <a:xfrm flipH="1">
            <a:off x="216760" y="4761512"/>
            <a:ext cx="1284051" cy="1062409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73529"/>
              <a:gd name="adj6" fmla="val -53485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desired country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4" name="Callout: Bent Line 13">
            <a:extLst>
              <a:ext uri="{FF2B5EF4-FFF2-40B4-BE49-F238E27FC236}">
                <a16:creationId xmlns:a16="http://schemas.microsoft.com/office/drawing/2014/main" id="{E2DB8CF8-19B2-0F8D-48B7-E0DF8EF25E22}"/>
              </a:ext>
            </a:extLst>
          </p:cNvPr>
          <p:cNvSpPr/>
          <p:nvPr/>
        </p:nvSpPr>
        <p:spPr>
          <a:xfrm>
            <a:off x="4022983" y="5923618"/>
            <a:ext cx="2891790" cy="70578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2928"/>
              <a:gd name="adj6" fmla="val -1318"/>
            </a:avLst>
          </a:prstGeom>
          <a:solidFill>
            <a:srgbClr val="F1CEC5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ere you can see the contribution of all main categories (select multiple categories to see the contribution)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5" name="Callout: Bent Line 14" descr="for now we are just doing Thailands study so just have thailnd there">
            <a:extLst>
              <a:ext uri="{FF2B5EF4-FFF2-40B4-BE49-F238E27FC236}">
                <a16:creationId xmlns:a16="http://schemas.microsoft.com/office/drawing/2014/main" id="{52645691-5BB3-0221-2355-568A7EF177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783831" y="5938291"/>
            <a:ext cx="2663190" cy="69110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6858"/>
              <a:gd name="adj6" fmla="val -7419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his pie chart gives you  ingredients contribution for the selected application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6" name="Callout: Bent Line with Border and Accent Bar 15">
            <a:extLst>
              <a:ext uri="{FF2B5EF4-FFF2-40B4-BE49-F238E27FC236}">
                <a16:creationId xmlns:a16="http://schemas.microsoft.com/office/drawing/2014/main" id="{1C7F14EA-2341-55B0-AE76-A9B5F1C2FF06}"/>
              </a:ext>
            </a:extLst>
          </p:cNvPr>
          <p:cNvSpPr/>
          <p:nvPr/>
        </p:nvSpPr>
        <p:spPr>
          <a:xfrm>
            <a:off x="10812780" y="696025"/>
            <a:ext cx="1280610" cy="1517515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00741"/>
              <a:gd name="adj6" fmla="val -2880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ere you can view the ingredients volume over the years</a:t>
            </a:r>
            <a:endParaRPr lang="en-IN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7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0A0EFDF-B36F-7BC5-281C-EDFE80AB8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heet 2 : Customer Data Analysis</a:t>
            </a:r>
          </a:p>
        </p:txBody>
      </p:sp>
      <p:pic>
        <p:nvPicPr>
          <p:cNvPr id="2" name="Content Placeholder 8">
            <a:extLst>
              <a:ext uri="{FF2B5EF4-FFF2-40B4-BE49-F238E27FC236}">
                <a16:creationId xmlns:a16="http://schemas.microsoft.com/office/drawing/2014/main" id="{7AC5AE70-8011-7EBA-4FF6-3F23130D1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43816" y="1675234"/>
            <a:ext cx="8544127" cy="473844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AB63051-5D12-4AB9-577A-AD1293AA6D62}"/>
              </a:ext>
            </a:extLst>
          </p:cNvPr>
          <p:cNvSpPr/>
          <p:nvPr/>
        </p:nvSpPr>
        <p:spPr>
          <a:xfrm>
            <a:off x="2166609" y="2541534"/>
            <a:ext cx="1361450" cy="54475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870013-C7D9-BF4C-CC30-82C6F33BF577}"/>
              </a:ext>
            </a:extLst>
          </p:cNvPr>
          <p:cNvSpPr/>
          <p:nvPr/>
        </p:nvSpPr>
        <p:spPr>
          <a:xfrm>
            <a:off x="2166608" y="3168121"/>
            <a:ext cx="1361451" cy="262245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C13244-5BAA-F8C8-F576-AF3850B45F5A}"/>
              </a:ext>
            </a:extLst>
          </p:cNvPr>
          <p:cNvSpPr/>
          <p:nvPr/>
        </p:nvSpPr>
        <p:spPr>
          <a:xfrm>
            <a:off x="2166609" y="5834351"/>
            <a:ext cx="1361450" cy="486167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EC2A43-8CD7-616B-C64E-5CAAF1799C02}"/>
              </a:ext>
            </a:extLst>
          </p:cNvPr>
          <p:cNvSpPr/>
          <p:nvPr/>
        </p:nvSpPr>
        <p:spPr>
          <a:xfrm>
            <a:off x="3609123" y="3796402"/>
            <a:ext cx="3828679" cy="25241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D853E-EE32-A562-BC39-FE03B0AB8FE8}"/>
              </a:ext>
            </a:extLst>
          </p:cNvPr>
          <p:cNvSpPr/>
          <p:nvPr/>
        </p:nvSpPr>
        <p:spPr>
          <a:xfrm>
            <a:off x="4636237" y="1675234"/>
            <a:ext cx="5870643" cy="2061534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052179-5FD5-BEF1-9076-8A2600F18137}"/>
              </a:ext>
            </a:extLst>
          </p:cNvPr>
          <p:cNvSpPr/>
          <p:nvPr/>
        </p:nvSpPr>
        <p:spPr>
          <a:xfrm>
            <a:off x="7515624" y="3796402"/>
            <a:ext cx="2991256" cy="252411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DE7221-037B-81CC-6F88-723486D17F37}"/>
              </a:ext>
            </a:extLst>
          </p:cNvPr>
          <p:cNvSpPr/>
          <p:nvPr/>
        </p:nvSpPr>
        <p:spPr>
          <a:xfrm>
            <a:off x="3609123" y="3168121"/>
            <a:ext cx="968750" cy="568647"/>
          </a:xfrm>
          <a:prstGeom prst="rect">
            <a:avLst/>
          </a:prstGeom>
          <a:noFill/>
          <a:ln w="12700">
            <a:solidFill>
              <a:srgbClr val="83BC3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23E063-41D6-D827-68EF-4ECFF6A2C7E9}"/>
              </a:ext>
            </a:extLst>
          </p:cNvPr>
          <p:cNvSpPr/>
          <p:nvPr/>
        </p:nvSpPr>
        <p:spPr>
          <a:xfrm>
            <a:off x="3609123" y="1675235"/>
            <a:ext cx="968750" cy="1411054"/>
          </a:xfrm>
          <a:prstGeom prst="rect">
            <a:avLst/>
          </a:prstGeom>
          <a:noFill/>
          <a:ln w="127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Callout: Bent Line 12">
            <a:extLst>
              <a:ext uri="{FF2B5EF4-FFF2-40B4-BE49-F238E27FC236}">
                <a16:creationId xmlns:a16="http://schemas.microsoft.com/office/drawing/2014/main" id="{10185928-032F-40A9-A7F0-E308A62B1AFE}"/>
              </a:ext>
            </a:extLst>
          </p:cNvPr>
          <p:cNvSpPr/>
          <p:nvPr/>
        </p:nvSpPr>
        <p:spPr>
          <a:xfrm flipH="1">
            <a:off x="287972" y="1802774"/>
            <a:ext cx="1284050" cy="738760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143254"/>
              <a:gd name="adj6" fmla="val -46733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desired category</a:t>
            </a:r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Callout: Bent Line with Border and Accent Bar 13">
            <a:extLst>
              <a:ext uri="{FF2B5EF4-FFF2-40B4-BE49-F238E27FC236}">
                <a16:creationId xmlns:a16="http://schemas.microsoft.com/office/drawing/2014/main" id="{89DE7D40-7B1C-AA42-EBD1-E0FA854E321B}"/>
              </a:ext>
            </a:extLst>
          </p:cNvPr>
          <p:cNvSpPr/>
          <p:nvPr/>
        </p:nvSpPr>
        <p:spPr>
          <a:xfrm flipH="1">
            <a:off x="287971" y="2820787"/>
            <a:ext cx="1284051" cy="2158067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90864"/>
              <a:gd name="adj6" fmla="val -45152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List of prospects who deal into the respective categories.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5" name="Callout: Bent Line with Border and Accent Bar 14">
            <a:extLst>
              <a:ext uri="{FF2B5EF4-FFF2-40B4-BE49-F238E27FC236}">
                <a16:creationId xmlns:a16="http://schemas.microsoft.com/office/drawing/2014/main" id="{D297DE9D-5216-5B3E-6FAE-F14F2C699583}"/>
              </a:ext>
            </a:extLst>
          </p:cNvPr>
          <p:cNvSpPr/>
          <p:nvPr/>
        </p:nvSpPr>
        <p:spPr>
          <a:xfrm flipH="1">
            <a:off x="287972" y="5258108"/>
            <a:ext cx="1284051" cy="1062409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75360"/>
              <a:gd name="adj6" fmla="val -46667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desired country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6" name="Callout: Bent Line 15">
            <a:extLst>
              <a:ext uri="{FF2B5EF4-FFF2-40B4-BE49-F238E27FC236}">
                <a16:creationId xmlns:a16="http://schemas.microsoft.com/office/drawing/2014/main" id="{2EA0FB91-F002-3EAE-6DD5-6202CCF6649D}"/>
              </a:ext>
            </a:extLst>
          </p:cNvPr>
          <p:cNvSpPr/>
          <p:nvPr/>
        </p:nvSpPr>
        <p:spPr>
          <a:xfrm>
            <a:off x="6096000" y="6460339"/>
            <a:ext cx="2420164" cy="28875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61990"/>
              <a:gd name="adj6" fmla="val -27526"/>
            </a:avLst>
          </a:prstGeom>
          <a:solidFill>
            <a:srgbClr val="F1CEC5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ed location in world map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7" name="Callout: Bent Line 16" descr="for now we are just doing Thailands study so just have thailnd there">
            <a:extLst>
              <a:ext uri="{FF2B5EF4-FFF2-40B4-BE49-F238E27FC236}">
                <a16:creationId xmlns:a16="http://schemas.microsoft.com/office/drawing/2014/main" id="{39A0E56F-AD5F-0E12-1212-A9095C35ACD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0710735" y="4091224"/>
            <a:ext cx="1322602" cy="193447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46835"/>
              <a:gd name="adj6" fmla="val -42802"/>
            </a:avLst>
          </a:prstGeom>
          <a:solidFill>
            <a:srgbClr val="FCFCC8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isual representation of the count of companies by their selected locations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8" name="Callout: Bent Line with Border and Accent Bar 17">
            <a:extLst>
              <a:ext uri="{FF2B5EF4-FFF2-40B4-BE49-F238E27FC236}">
                <a16:creationId xmlns:a16="http://schemas.microsoft.com/office/drawing/2014/main" id="{3931E9D8-DAAF-7304-9FE4-1E0D68E0DBDA}"/>
              </a:ext>
            </a:extLst>
          </p:cNvPr>
          <p:cNvSpPr/>
          <p:nvPr/>
        </p:nvSpPr>
        <p:spPr>
          <a:xfrm>
            <a:off x="10059642" y="578613"/>
            <a:ext cx="1973695" cy="937188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7918"/>
              <a:gd name="adj6" fmla="val -4044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List of products the respective company manufactures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9" name="Callout: Bent Line 18">
            <a:extLst>
              <a:ext uri="{FF2B5EF4-FFF2-40B4-BE49-F238E27FC236}">
                <a16:creationId xmlns:a16="http://schemas.microsoft.com/office/drawing/2014/main" id="{451177A0-7633-DE6A-35B2-241EA331126F}"/>
              </a:ext>
            </a:extLst>
          </p:cNvPr>
          <p:cNvSpPr/>
          <p:nvPr/>
        </p:nvSpPr>
        <p:spPr>
          <a:xfrm>
            <a:off x="4947682" y="1156158"/>
            <a:ext cx="3546184" cy="3280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30968"/>
              <a:gd name="adj6" fmla="val -17014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unt of companies selected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20" name="Callout: Bent Line 19">
            <a:extLst>
              <a:ext uri="{FF2B5EF4-FFF2-40B4-BE49-F238E27FC236}">
                <a16:creationId xmlns:a16="http://schemas.microsoft.com/office/drawing/2014/main" id="{FF808D09-6E95-63CA-2B82-D6AC74626303}"/>
              </a:ext>
            </a:extLst>
          </p:cNvPr>
          <p:cNvSpPr/>
          <p:nvPr/>
        </p:nvSpPr>
        <p:spPr>
          <a:xfrm flipH="1">
            <a:off x="550863" y="1104464"/>
            <a:ext cx="3022054" cy="41419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553325"/>
              <a:gd name="adj6" fmla="val -17750"/>
            </a:avLst>
          </a:prstGeom>
          <a:solidFill>
            <a:srgbClr val="C7E7B7"/>
          </a:solidFill>
          <a:ln>
            <a:solidFill>
              <a:srgbClr val="83BC3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Product count for each selected company</a:t>
            </a: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53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0A0EFDF-B36F-7BC5-281C-EDFE80AB8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heet 3 : Market </a:t>
            </a:r>
            <a:r>
              <a:rPr lang="nl-NL" dirty="0" err="1"/>
              <a:t>Size</a:t>
            </a:r>
            <a:r>
              <a:rPr lang="nl-NL" dirty="0"/>
              <a:t> Analysis</a:t>
            </a:r>
          </a:p>
        </p:txBody>
      </p:sp>
      <p:pic>
        <p:nvPicPr>
          <p:cNvPr id="2" name="Content Placeholder 8">
            <a:extLst>
              <a:ext uri="{FF2B5EF4-FFF2-40B4-BE49-F238E27FC236}">
                <a16:creationId xmlns:a16="http://schemas.microsoft.com/office/drawing/2014/main" id="{C9F51F8C-3C5A-9AC3-429E-AF7E41D601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43976" y="1125538"/>
            <a:ext cx="8544127" cy="473844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3977399-04B7-5CAA-5BCE-90DFBEE17DF9}"/>
              </a:ext>
            </a:extLst>
          </p:cNvPr>
          <p:cNvSpPr/>
          <p:nvPr/>
        </p:nvSpPr>
        <p:spPr>
          <a:xfrm>
            <a:off x="2266769" y="1957263"/>
            <a:ext cx="1273126" cy="57932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ECFCD7-88C4-C9A4-C6CF-CFA0E146A148}"/>
              </a:ext>
            </a:extLst>
          </p:cNvPr>
          <p:cNvSpPr/>
          <p:nvPr/>
        </p:nvSpPr>
        <p:spPr>
          <a:xfrm>
            <a:off x="2266768" y="4404302"/>
            <a:ext cx="1273127" cy="84630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156A69-EDAF-BE56-2DFE-86F21B6F833A}"/>
              </a:ext>
            </a:extLst>
          </p:cNvPr>
          <p:cNvSpPr/>
          <p:nvPr/>
        </p:nvSpPr>
        <p:spPr>
          <a:xfrm>
            <a:off x="2266769" y="5284655"/>
            <a:ext cx="1273126" cy="486167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50ACAE-3DEF-60DA-FE1F-DD1EF0A57D8F}"/>
              </a:ext>
            </a:extLst>
          </p:cNvPr>
          <p:cNvSpPr/>
          <p:nvPr/>
        </p:nvSpPr>
        <p:spPr>
          <a:xfrm>
            <a:off x="3628220" y="3246706"/>
            <a:ext cx="3394178" cy="25241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BE7754-F128-82DD-59D5-9E8E428B018B}"/>
              </a:ext>
            </a:extLst>
          </p:cNvPr>
          <p:cNvSpPr/>
          <p:nvPr/>
        </p:nvSpPr>
        <p:spPr>
          <a:xfrm>
            <a:off x="3628219" y="1125538"/>
            <a:ext cx="6978821" cy="2061534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3AF40F-9B26-3B47-1AF8-1B9649F98013}"/>
              </a:ext>
            </a:extLst>
          </p:cNvPr>
          <p:cNvSpPr/>
          <p:nvPr/>
        </p:nvSpPr>
        <p:spPr>
          <a:xfrm>
            <a:off x="7110723" y="3246706"/>
            <a:ext cx="3496317" cy="252411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B99AF6-A1FF-7306-709B-20C4DD7FADC5}"/>
              </a:ext>
            </a:extLst>
          </p:cNvPr>
          <p:cNvSpPr/>
          <p:nvPr/>
        </p:nvSpPr>
        <p:spPr>
          <a:xfrm>
            <a:off x="2266767" y="3684454"/>
            <a:ext cx="1273127" cy="68580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4ADE752-5314-6EA3-4FD8-CA83BFB6B23C}"/>
              </a:ext>
            </a:extLst>
          </p:cNvPr>
          <p:cNvSpPr/>
          <p:nvPr/>
        </p:nvSpPr>
        <p:spPr>
          <a:xfrm>
            <a:off x="2266766" y="2570638"/>
            <a:ext cx="1273127" cy="107977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Callout: Bent Line 12">
            <a:extLst>
              <a:ext uri="{FF2B5EF4-FFF2-40B4-BE49-F238E27FC236}">
                <a16:creationId xmlns:a16="http://schemas.microsoft.com/office/drawing/2014/main" id="{6425FC8F-DE03-860C-5B58-FD21B0086FB4}"/>
              </a:ext>
            </a:extLst>
          </p:cNvPr>
          <p:cNvSpPr/>
          <p:nvPr/>
        </p:nvSpPr>
        <p:spPr>
          <a:xfrm flipH="1">
            <a:off x="462874" y="4803698"/>
            <a:ext cx="1284050" cy="605631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-16869"/>
              <a:gd name="adj6" fmla="val -41374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desired year</a:t>
            </a:r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Callout: Bent Line with Border and Accent Bar 13">
            <a:extLst>
              <a:ext uri="{FF2B5EF4-FFF2-40B4-BE49-F238E27FC236}">
                <a16:creationId xmlns:a16="http://schemas.microsoft.com/office/drawing/2014/main" id="{046F1B11-B7C2-3524-73B3-7B5C04956CDA}"/>
              </a:ext>
            </a:extLst>
          </p:cNvPr>
          <p:cNvSpPr/>
          <p:nvPr/>
        </p:nvSpPr>
        <p:spPr>
          <a:xfrm flipH="1">
            <a:off x="462874" y="5557565"/>
            <a:ext cx="1284051" cy="612838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0232"/>
              <a:gd name="adj6" fmla="val -40820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desired country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CF76C91B-4953-A7C4-4152-1609F5838592}"/>
              </a:ext>
            </a:extLst>
          </p:cNvPr>
          <p:cNvSpPr/>
          <p:nvPr/>
        </p:nvSpPr>
        <p:spPr>
          <a:xfrm flipH="1">
            <a:off x="462874" y="3601849"/>
            <a:ext cx="1284050" cy="1053612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49017"/>
              <a:gd name="adj6" fmla="val -41409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for analysis by market size and market volume</a:t>
            </a:r>
          </a:p>
          <a:p>
            <a:pPr algn="ctr"/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" name="Callout: Bent Line 15">
            <a:extLst>
              <a:ext uri="{FF2B5EF4-FFF2-40B4-BE49-F238E27FC236}">
                <a16:creationId xmlns:a16="http://schemas.microsoft.com/office/drawing/2014/main" id="{64E65C16-F24B-AAD1-A921-9873C2C13EEE}"/>
              </a:ext>
            </a:extLst>
          </p:cNvPr>
          <p:cNvSpPr/>
          <p:nvPr/>
        </p:nvSpPr>
        <p:spPr>
          <a:xfrm>
            <a:off x="4606290" y="5923619"/>
            <a:ext cx="2416108" cy="78579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5289"/>
              <a:gd name="adj6" fmla="val -17001"/>
            </a:avLst>
          </a:prstGeom>
          <a:solidFill>
            <a:srgbClr val="F1CEC5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isual representation of the selected categories and their volumes (kg) over the years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7" name="Callout: Bent Line 16" descr="for now we are just doing Thailands study so just have thailnd there">
            <a:extLst>
              <a:ext uri="{FF2B5EF4-FFF2-40B4-BE49-F238E27FC236}">
                <a16:creationId xmlns:a16="http://schemas.microsoft.com/office/drawing/2014/main" id="{EC9A1C3F-5D1F-82E8-BE53-8333BF7477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046725" y="5923618"/>
            <a:ext cx="2560315" cy="7850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8855"/>
              <a:gd name="adj6" fmla="val -16339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isual representation of the selected categories and their market size (USD) over the years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8" name="Callout: Bent Line with Border and Accent Bar 17">
            <a:extLst>
              <a:ext uri="{FF2B5EF4-FFF2-40B4-BE49-F238E27FC236}">
                <a16:creationId xmlns:a16="http://schemas.microsoft.com/office/drawing/2014/main" id="{A39AF97A-7FBE-E8FC-5F9C-C5D776F7D6DC}"/>
              </a:ext>
            </a:extLst>
          </p:cNvPr>
          <p:cNvSpPr/>
          <p:nvPr/>
        </p:nvSpPr>
        <p:spPr>
          <a:xfrm>
            <a:off x="10810893" y="1125538"/>
            <a:ext cx="1280389" cy="2646362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7916"/>
              <a:gd name="adj6" fmla="val -4765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This enables us to view the information according to possible criteria. Units, additional categories, and the primary category</a:t>
            </a: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9" name="Callout: Bent Line 18">
            <a:extLst>
              <a:ext uri="{FF2B5EF4-FFF2-40B4-BE49-F238E27FC236}">
                <a16:creationId xmlns:a16="http://schemas.microsoft.com/office/drawing/2014/main" id="{C20DAB06-6D34-3A04-0568-072F620516FF}"/>
              </a:ext>
            </a:extLst>
          </p:cNvPr>
          <p:cNvSpPr/>
          <p:nvPr/>
        </p:nvSpPr>
        <p:spPr>
          <a:xfrm flipH="1">
            <a:off x="462874" y="2356995"/>
            <a:ext cx="1284050" cy="1096617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83621"/>
              <a:gd name="adj6" fmla="val -40106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sub-category/categories to analyze the data</a:t>
            </a:r>
          </a:p>
          <a:p>
            <a:pPr algn="ctr"/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0" name="Callout: Bent Line 19">
            <a:extLst>
              <a:ext uri="{FF2B5EF4-FFF2-40B4-BE49-F238E27FC236}">
                <a16:creationId xmlns:a16="http://schemas.microsoft.com/office/drawing/2014/main" id="{35B13A76-5A4A-7F5B-E421-2CB0F0AEB71E}"/>
              </a:ext>
            </a:extLst>
          </p:cNvPr>
          <p:cNvSpPr/>
          <p:nvPr/>
        </p:nvSpPr>
        <p:spPr>
          <a:xfrm flipH="1">
            <a:off x="462874" y="1234058"/>
            <a:ext cx="1284050" cy="974700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103055"/>
              <a:gd name="adj6" fmla="val -40143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primary category</a:t>
            </a:r>
          </a:p>
          <a:p>
            <a:pPr algn="ctr"/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62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7B55C1E-F3B4-D169-EF89-E0446A19F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t 2- </a:t>
            </a:r>
            <a:r>
              <a:rPr lang="nl-NL" dirty="0" err="1"/>
              <a:t>Final</a:t>
            </a:r>
            <a:r>
              <a:rPr lang="nl-NL" dirty="0"/>
              <a:t> Report of</a:t>
            </a:r>
            <a:br>
              <a:rPr lang="nl-NL" dirty="0"/>
            </a:br>
            <a:r>
              <a:rPr lang="nl-NL" dirty="0" err="1"/>
              <a:t>Ingredient</a:t>
            </a:r>
            <a:r>
              <a:rPr lang="nl-NL" dirty="0"/>
              <a:t> Analysis</a:t>
            </a:r>
          </a:p>
        </p:txBody>
      </p:sp>
    </p:spTree>
    <p:extLst>
      <p:ext uri="{BB962C8B-B14F-4D97-AF65-F5344CB8AC3E}">
        <p14:creationId xmlns:p14="http://schemas.microsoft.com/office/powerpoint/2010/main" val="4611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AF80B5F8-6A3F-19F6-8770-7D3C7A543C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gredients Analysis</a:t>
            </a:r>
          </a:p>
        </p:txBody>
      </p:sp>
      <p:pic>
        <p:nvPicPr>
          <p:cNvPr id="2" name="Content Placeholder 8">
            <a:extLst>
              <a:ext uri="{FF2B5EF4-FFF2-40B4-BE49-F238E27FC236}">
                <a16:creationId xmlns:a16="http://schemas.microsoft.com/office/drawing/2014/main" id="{E5902C79-F905-371F-D90E-2ADFE8A046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1642" y="1030591"/>
            <a:ext cx="8472191" cy="473844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3CEB92B-AFA3-FFF9-23F3-281AA17802C4}"/>
              </a:ext>
            </a:extLst>
          </p:cNvPr>
          <p:cNvSpPr/>
          <p:nvPr/>
        </p:nvSpPr>
        <p:spPr>
          <a:xfrm>
            <a:off x="2205914" y="1988555"/>
            <a:ext cx="1305460" cy="1630135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7F053F-CDFC-4902-DEE0-B7974484EB27}"/>
              </a:ext>
            </a:extLst>
          </p:cNvPr>
          <p:cNvSpPr/>
          <p:nvPr/>
        </p:nvSpPr>
        <p:spPr>
          <a:xfrm>
            <a:off x="2205914" y="3715968"/>
            <a:ext cx="1305460" cy="70039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EC274A-ED3E-9198-9743-34D41B28BD53}"/>
              </a:ext>
            </a:extLst>
          </p:cNvPr>
          <p:cNvSpPr/>
          <p:nvPr/>
        </p:nvSpPr>
        <p:spPr>
          <a:xfrm>
            <a:off x="3611709" y="3404682"/>
            <a:ext cx="3367815" cy="23643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108848-B30D-9C75-F785-F5B397D4B73B}"/>
              </a:ext>
            </a:extLst>
          </p:cNvPr>
          <p:cNvSpPr/>
          <p:nvPr/>
        </p:nvSpPr>
        <p:spPr>
          <a:xfrm>
            <a:off x="3611709" y="1030591"/>
            <a:ext cx="6857853" cy="2295006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E7D03C-BF5F-6731-E57B-4E707198AB5F}"/>
              </a:ext>
            </a:extLst>
          </p:cNvPr>
          <p:cNvSpPr/>
          <p:nvPr/>
        </p:nvSpPr>
        <p:spPr>
          <a:xfrm>
            <a:off x="7079860" y="3404681"/>
            <a:ext cx="3389702" cy="236435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B21B3D-13B0-D366-082C-8F46C3157520}"/>
              </a:ext>
            </a:extLst>
          </p:cNvPr>
          <p:cNvSpPr/>
          <p:nvPr/>
        </p:nvSpPr>
        <p:spPr>
          <a:xfrm>
            <a:off x="2205913" y="4507171"/>
            <a:ext cx="1305461" cy="126186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Callout: Bent Line with Border and Accent Bar 10">
            <a:extLst>
              <a:ext uri="{FF2B5EF4-FFF2-40B4-BE49-F238E27FC236}">
                <a16:creationId xmlns:a16="http://schemas.microsoft.com/office/drawing/2014/main" id="{F526FC0E-CCE9-21BE-5F43-E459D1AACAE5}"/>
              </a:ext>
            </a:extLst>
          </p:cNvPr>
          <p:cNvSpPr/>
          <p:nvPr/>
        </p:nvSpPr>
        <p:spPr>
          <a:xfrm flipH="1">
            <a:off x="327666" y="1115685"/>
            <a:ext cx="1597767" cy="1062409"/>
          </a:xfrm>
          <a:prstGeom prst="accentBorderCallout2">
            <a:avLst>
              <a:gd name="adj1" fmla="val 18750"/>
              <a:gd name="adj2" fmla="val -8333"/>
              <a:gd name="adj3" fmla="val 17881"/>
              <a:gd name="adj4" fmla="val -49618"/>
              <a:gd name="adj5" fmla="val 82685"/>
              <a:gd name="adj6" fmla="val -49750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elect desired country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2" name="Callout: Bent Line with Border and Accent Bar 11">
            <a:extLst>
              <a:ext uri="{FF2B5EF4-FFF2-40B4-BE49-F238E27FC236}">
                <a16:creationId xmlns:a16="http://schemas.microsoft.com/office/drawing/2014/main" id="{EF9E75C4-1EA9-0EAB-565B-2F5986E8628D}"/>
              </a:ext>
            </a:extLst>
          </p:cNvPr>
          <p:cNvSpPr/>
          <p:nvPr/>
        </p:nvSpPr>
        <p:spPr>
          <a:xfrm flipH="1">
            <a:off x="327666" y="2721682"/>
            <a:ext cx="1597769" cy="1589736"/>
          </a:xfrm>
          <a:prstGeom prst="accentBorderCallout2">
            <a:avLst>
              <a:gd name="adj1" fmla="val 67013"/>
              <a:gd name="adj2" fmla="val -5702"/>
              <a:gd name="adj3" fmla="val 92136"/>
              <a:gd name="adj4" fmla="val -12062"/>
              <a:gd name="adj5" fmla="val 74236"/>
              <a:gd name="adj6" fmla="val -1788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elect ingredient for analysi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You can select multiple Ingredients as well by pressing Ctrl and Select)</a:t>
            </a:r>
          </a:p>
          <a:p>
            <a:pPr algn="ctr"/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3" name="Callout: Bent Line 12">
            <a:extLst>
              <a:ext uri="{FF2B5EF4-FFF2-40B4-BE49-F238E27FC236}">
                <a16:creationId xmlns:a16="http://schemas.microsoft.com/office/drawing/2014/main" id="{B2E8806B-0F0D-CE54-4882-B09A875EBE02}"/>
              </a:ext>
            </a:extLst>
          </p:cNvPr>
          <p:cNvSpPr/>
          <p:nvPr/>
        </p:nvSpPr>
        <p:spPr>
          <a:xfrm flipH="1">
            <a:off x="327666" y="4855007"/>
            <a:ext cx="1597766" cy="1175973"/>
          </a:xfrm>
          <a:prstGeom prst="borderCallout2">
            <a:avLst>
              <a:gd name="adj1" fmla="val 18750"/>
              <a:gd name="adj2" fmla="val -490"/>
              <a:gd name="adj3" fmla="val 50952"/>
              <a:gd name="adj4" fmla="val -6262"/>
              <a:gd name="adj5" fmla="val 57559"/>
              <a:gd name="adj6" fmla="val -17868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any Applications and analyze by different visuals</a:t>
            </a:r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Callout: Bent Line 13">
            <a:extLst>
              <a:ext uri="{FF2B5EF4-FFF2-40B4-BE49-F238E27FC236}">
                <a16:creationId xmlns:a16="http://schemas.microsoft.com/office/drawing/2014/main" id="{C28A5389-4FB2-3AB1-418B-87CF5E06C2D5}"/>
              </a:ext>
            </a:extLst>
          </p:cNvPr>
          <p:cNvSpPr/>
          <p:nvPr/>
        </p:nvSpPr>
        <p:spPr>
          <a:xfrm>
            <a:off x="4363858" y="5880979"/>
            <a:ext cx="2615666" cy="85549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70180"/>
              <a:gd name="adj6" fmla="val 16471"/>
            </a:avLst>
          </a:prstGeom>
          <a:solidFill>
            <a:srgbClr val="F1CEC5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You may compare the </a:t>
            </a:r>
            <a:r>
              <a:rPr lang="en-US" sz="1400" b="1" dirty="0">
                <a:solidFill>
                  <a:schemeClr val="tx1"/>
                </a:solidFill>
              </a:rPr>
              <a:t>volume</a:t>
            </a:r>
            <a:r>
              <a:rPr lang="en-US" sz="1400" dirty="0">
                <a:solidFill>
                  <a:schemeClr val="tx1"/>
                </a:solidFill>
              </a:rPr>
              <a:t> of each ingredient over the years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15" name="Callout: Bent Line 14" descr="for now we are just doing Thailands study so just have thailnd there">
            <a:extLst>
              <a:ext uri="{FF2B5EF4-FFF2-40B4-BE49-F238E27FC236}">
                <a16:creationId xmlns:a16="http://schemas.microsoft.com/office/drawing/2014/main" id="{D2718F15-D8FA-2358-E3B0-70772E6B57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206648" y="5877884"/>
            <a:ext cx="2262914" cy="85549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9549"/>
              <a:gd name="adj6" fmla="val -2911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This pie chart gives you  ingredients contribution for the selected category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Callout: Bent Line with Border and Accent Bar 15">
            <a:extLst>
              <a:ext uri="{FF2B5EF4-FFF2-40B4-BE49-F238E27FC236}">
                <a16:creationId xmlns:a16="http://schemas.microsoft.com/office/drawing/2014/main" id="{BA445435-C44A-4150-439A-C487E2C90E1E}"/>
              </a:ext>
            </a:extLst>
          </p:cNvPr>
          <p:cNvSpPr/>
          <p:nvPr/>
        </p:nvSpPr>
        <p:spPr>
          <a:xfrm>
            <a:off x="10731545" y="1682223"/>
            <a:ext cx="1284052" cy="1322963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8232"/>
              <a:gd name="adj6" fmla="val -40121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Ingredients volume over the years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E1EFF11-B03B-B031-EC5A-D7296BEC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heet 2 : Customer Data Analysis</a:t>
            </a:r>
          </a:p>
        </p:txBody>
      </p:sp>
      <p:pic>
        <p:nvPicPr>
          <p:cNvPr id="2" name="Content Placeholder 8">
            <a:extLst>
              <a:ext uri="{FF2B5EF4-FFF2-40B4-BE49-F238E27FC236}">
                <a16:creationId xmlns:a16="http://schemas.microsoft.com/office/drawing/2014/main" id="{564F13A2-24E2-05B3-CC51-821613C6E9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7917" y="1594690"/>
            <a:ext cx="8544127" cy="473844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83444EE-B9AA-112B-2F20-AC2B433CF61A}"/>
              </a:ext>
            </a:extLst>
          </p:cNvPr>
          <p:cNvSpPr/>
          <p:nvPr/>
        </p:nvSpPr>
        <p:spPr>
          <a:xfrm>
            <a:off x="2427527" y="2460989"/>
            <a:ext cx="1374633" cy="1575885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B83A37-C391-F956-988B-1C24BCDDF354}"/>
              </a:ext>
            </a:extLst>
          </p:cNvPr>
          <p:cNvSpPr/>
          <p:nvPr/>
        </p:nvSpPr>
        <p:spPr>
          <a:xfrm>
            <a:off x="2427527" y="4080649"/>
            <a:ext cx="1353769" cy="61770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BE4011-C1A5-40F2-0659-2ADE38B214AF}"/>
              </a:ext>
            </a:extLst>
          </p:cNvPr>
          <p:cNvSpPr/>
          <p:nvPr/>
        </p:nvSpPr>
        <p:spPr>
          <a:xfrm>
            <a:off x="3863768" y="3779837"/>
            <a:ext cx="3925958" cy="255329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AEF9B0-FF39-B2DD-1DB4-57AD97CF11C4}"/>
              </a:ext>
            </a:extLst>
          </p:cNvPr>
          <p:cNvSpPr/>
          <p:nvPr/>
        </p:nvSpPr>
        <p:spPr>
          <a:xfrm>
            <a:off x="4968706" y="1594689"/>
            <a:ext cx="5812275" cy="2130899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1C5E20-0771-F103-612C-0C022B29F890}"/>
              </a:ext>
            </a:extLst>
          </p:cNvPr>
          <p:cNvSpPr/>
          <p:nvPr/>
        </p:nvSpPr>
        <p:spPr>
          <a:xfrm>
            <a:off x="7872198" y="3779836"/>
            <a:ext cx="2908783" cy="2553298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238D65-BA56-7382-504D-59AE4A470DD9}"/>
              </a:ext>
            </a:extLst>
          </p:cNvPr>
          <p:cNvSpPr/>
          <p:nvPr/>
        </p:nvSpPr>
        <p:spPr>
          <a:xfrm>
            <a:off x="3863768" y="3059995"/>
            <a:ext cx="1036846" cy="665594"/>
          </a:xfrm>
          <a:prstGeom prst="rect">
            <a:avLst/>
          </a:prstGeom>
          <a:noFill/>
          <a:ln w="12700">
            <a:solidFill>
              <a:srgbClr val="83BC3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309AA6-18A2-1C80-E229-51BF819023AA}"/>
              </a:ext>
            </a:extLst>
          </p:cNvPr>
          <p:cNvSpPr/>
          <p:nvPr/>
        </p:nvSpPr>
        <p:spPr>
          <a:xfrm>
            <a:off x="3870252" y="1594689"/>
            <a:ext cx="1030361" cy="1411058"/>
          </a:xfrm>
          <a:prstGeom prst="rect">
            <a:avLst/>
          </a:prstGeom>
          <a:noFill/>
          <a:ln w="127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A20408-D387-3AC7-8F4B-617EADA9C952}"/>
              </a:ext>
            </a:extLst>
          </p:cNvPr>
          <p:cNvSpPr/>
          <p:nvPr/>
        </p:nvSpPr>
        <p:spPr>
          <a:xfrm>
            <a:off x="2427527" y="4801027"/>
            <a:ext cx="1361450" cy="153211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Callout: Bent Line 12">
            <a:extLst>
              <a:ext uri="{FF2B5EF4-FFF2-40B4-BE49-F238E27FC236}">
                <a16:creationId xmlns:a16="http://schemas.microsoft.com/office/drawing/2014/main" id="{4ACD4FE4-704F-9AA1-17F3-2DEAB76D6669}"/>
              </a:ext>
            </a:extLst>
          </p:cNvPr>
          <p:cNvSpPr/>
          <p:nvPr/>
        </p:nvSpPr>
        <p:spPr>
          <a:xfrm flipH="1">
            <a:off x="552449" y="941030"/>
            <a:ext cx="2537697" cy="596134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447817"/>
              <a:gd name="adj6" fmla="val -17194"/>
            </a:avLst>
          </a:prstGeom>
          <a:solidFill>
            <a:srgbClr val="C7E7B7"/>
          </a:solidFill>
          <a:ln>
            <a:solidFill>
              <a:srgbClr val="83BC3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Product count for each company according to the selection</a:t>
            </a: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4" name="Callout: Bent Line 13">
            <a:extLst>
              <a:ext uri="{FF2B5EF4-FFF2-40B4-BE49-F238E27FC236}">
                <a16:creationId xmlns:a16="http://schemas.microsoft.com/office/drawing/2014/main" id="{54B55D78-0E56-1537-BDCA-697F753C5730}"/>
              </a:ext>
            </a:extLst>
          </p:cNvPr>
          <p:cNvSpPr/>
          <p:nvPr/>
        </p:nvSpPr>
        <p:spPr>
          <a:xfrm>
            <a:off x="5126476" y="920243"/>
            <a:ext cx="3817258" cy="48125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08594"/>
              <a:gd name="adj6" fmla="val -24365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unt of companies by the respective parameters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5" name="Callout: Bent Line with Border and Accent Bar 14">
            <a:extLst>
              <a:ext uri="{FF2B5EF4-FFF2-40B4-BE49-F238E27FC236}">
                <a16:creationId xmlns:a16="http://schemas.microsoft.com/office/drawing/2014/main" id="{ED62AD44-5013-38ED-AA6B-38955BCF973F}"/>
              </a:ext>
            </a:extLst>
          </p:cNvPr>
          <p:cNvSpPr/>
          <p:nvPr/>
        </p:nvSpPr>
        <p:spPr>
          <a:xfrm>
            <a:off x="11111345" y="1769013"/>
            <a:ext cx="1080656" cy="1645292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724"/>
              <a:gd name="adj6" fmla="val -31201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ist of products the respective company manufactures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6" name="Callout: Bent Line 15">
            <a:extLst>
              <a:ext uri="{FF2B5EF4-FFF2-40B4-BE49-F238E27FC236}">
                <a16:creationId xmlns:a16="http://schemas.microsoft.com/office/drawing/2014/main" id="{F9F9A7FB-62E4-3ACA-3668-AEF397DA4B73}"/>
              </a:ext>
            </a:extLst>
          </p:cNvPr>
          <p:cNvSpPr/>
          <p:nvPr/>
        </p:nvSpPr>
        <p:spPr>
          <a:xfrm flipH="1">
            <a:off x="562072" y="3059996"/>
            <a:ext cx="1434893" cy="1333334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99638"/>
              <a:gd name="adj6" fmla="val -31095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You can select multiple categories as well by pressing Ctrl and Select</a:t>
            </a:r>
          </a:p>
          <a:p>
            <a:pPr algn="ctr"/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" name="Callout: Bent Line with Border and Accent Bar 16">
            <a:extLst>
              <a:ext uri="{FF2B5EF4-FFF2-40B4-BE49-F238E27FC236}">
                <a16:creationId xmlns:a16="http://schemas.microsoft.com/office/drawing/2014/main" id="{ADACEC5A-EC6F-A35A-5C38-CE4478FD5245}"/>
              </a:ext>
            </a:extLst>
          </p:cNvPr>
          <p:cNvSpPr/>
          <p:nvPr/>
        </p:nvSpPr>
        <p:spPr>
          <a:xfrm flipH="1">
            <a:off x="544693" y="1769013"/>
            <a:ext cx="1434891" cy="1062409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5426"/>
              <a:gd name="adj6" fmla="val -32090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elect desired country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8" name="Callout: Bent Line with Border and Accent Bar 17">
            <a:extLst>
              <a:ext uri="{FF2B5EF4-FFF2-40B4-BE49-F238E27FC236}">
                <a16:creationId xmlns:a16="http://schemas.microsoft.com/office/drawing/2014/main" id="{C02A57A4-C24E-DE81-D38D-0A3CD1AB0EC6}"/>
              </a:ext>
            </a:extLst>
          </p:cNvPr>
          <p:cNvSpPr/>
          <p:nvPr/>
        </p:nvSpPr>
        <p:spPr>
          <a:xfrm flipH="1">
            <a:off x="544693" y="4621904"/>
            <a:ext cx="1434889" cy="1532110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72438"/>
              <a:gd name="adj6" fmla="val -31976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ist of prospects who deal into the respective categories.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9" name="Callout: Bent Line 18">
            <a:extLst>
              <a:ext uri="{FF2B5EF4-FFF2-40B4-BE49-F238E27FC236}">
                <a16:creationId xmlns:a16="http://schemas.microsoft.com/office/drawing/2014/main" id="{C0D01A87-3D7F-9BA1-8235-9196EA221CA0}"/>
              </a:ext>
            </a:extLst>
          </p:cNvPr>
          <p:cNvSpPr/>
          <p:nvPr/>
        </p:nvSpPr>
        <p:spPr>
          <a:xfrm>
            <a:off x="5325965" y="6391152"/>
            <a:ext cx="2998228" cy="37225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72394"/>
              <a:gd name="adj6" fmla="val -16439"/>
            </a:avLst>
          </a:prstGeom>
          <a:solidFill>
            <a:srgbClr val="F1CEC5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ed Location’s In World Map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20" name="Callout: Bent Line 19" descr="for now we are just doing Thailands study so just have thailnd there">
            <a:extLst>
              <a:ext uri="{FF2B5EF4-FFF2-40B4-BE49-F238E27FC236}">
                <a16:creationId xmlns:a16="http://schemas.microsoft.com/office/drawing/2014/main" id="{CC5A7421-D17B-1202-FDA9-02DE2B29372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639529" y="6387383"/>
            <a:ext cx="2998228" cy="372258"/>
          </a:xfrm>
          <a:prstGeom prst="borderCallout2">
            <a:avLst>
              <a:gd name="adj1" fmla="val 24397"/>
              <a:gd name="adj2" fmla="val 3936"/>
              <a:gd name="adj3" fmla="val 7456"/>
              <a:gd name="adj4" fmla="val -6852"/>
              <a:gd name="adj5" fmla="val -215174"/>
              <a:gd name="adj6" fmla="val 4794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We can visualize the </a:t>
            </a:r>
            <a:r>
              <a:rPr lang="en-US" sz="1400" b="1" dirty="0">
                <a:solidFill>
                  <a:schemeClr val="tx1"/>
                </a:solidFill>
              </a:rPr>
              <a:t>count</a:t>
            </a:r>
            <a:r>
              <a:rPr lang="en-US" sz="1400" dirty="0">
                <a:solidFill>
                  <a:schemeClr val="tx1"/>
                </a:solidFill>
              </a:rPr>
              <a:t> of companies by their chosen locations</a:t>
            </a:r>
            <a:endParaRPr lang="en-IN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973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6B3D5D-B478-CBBF-BBCD-7BFC75A60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heet 3: Market Size Analysis</a:t>
            </a:r>
          </a:p>
        </p:txBody>
      </p:sp>
      <p:pic>
        <p:nvPicPr>
          <p:cNvPr id="4" name="Content Placeholder 8">
            <a:extLst>
              <a:ext uri="{FF2B5EF4-FFF2-40B4-BE49-F238E27FC236}">
                <a16:creationId xmlns:a16="http://schemas.microsoft.com/office/drawing/2014/main" id="{83F4645F-7CBE-5ADC-6ECE-065A790023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92917" y="943041"/>
            <a:ext cx="8406163" cy="473844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1D44A5C-F51D-F596-8B20-CDF597056158}"/>
              </a:ext>
            </a:extLst>
          </p:cNvPr>
          <p:cNvSpPr/>
          <p:nvPr/>
        </p:nvSpPr>
        <p:spPr>
          <a:xfrm>
            <a:off x="1946728" y="1932835"/>
            <a:ext cx="845110" cy="1851225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00EC0B-27C9-7CDD-4D7B-FCC20DDB210A}"/>
              </a:ext>
            </a:extLst>
          </p:cNvPr>
          <p:cNvSpPr/>
          <p:nvPr/>
        </p:nvSpPr>
        <p:spPr>
          <a:xfrm>
            <a:off x="1946728" y="3847555"/>
            <a:ext cx="1385837" cy="71471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8455AC-8FD0-AC27-7881-3E30FE2010D2}"/>
              </a:ext>
            </a:extLst>
          </p:cNvPr>
          <p:cNvSpPr/>
          <p:nvPr/>
        </p:nvSpPr>
        <p:spPr>
          <a:xfrm>
            <a:off x="1946728" y="4635712"/>
            <a:ext cx="1385837" cy="10457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3F20B2-73B3-B676-1777-FA3E8DBA80D2}"/>
              </a:ext>
            </a:extLst>
          </p:cNvPr>
          <p:cNvSpPr/>
          <p:nvPr/>
        </p:nvSpPr>
        <p:spPr>
          <a:xfrm>
            <a:off x="3433085" y="3316318"/>
            <a:ext cx="3318697" cy="236516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8C7956-855D-783C-67B7-1FD2D115C42A}"/>
              </a:ext>
            </a:extLst>
          </p:cNvPr>
          <p:cNvSpPr/>
          <p:nvPr/>
        </p:nvSpPr>
        <p:spPr>
          <a:xfrm>
            <a:off x="3433086" y="980477"/>
            <a:ext cx="3026082" cy="2278279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EB90D-5512-0375-59D3-73F93D2330B8}"/>
              </a:ext>
            </a:extLst>
          </p:cNvPr>
          <p:cNvSpPr/>
          <p:nvPr/>
        </p:nvSpPr>
        <p:spPr>
          <a:xfrm>
            <a:off x="6862618" y="3316318"/>
            <a:ext cx="3424383" cy="2365169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E67015-8168-1F1D-7F20-39EE2D016D58}"/>
              </a:ext>
            </a:extLst>
          </p:cNvPr>
          <p:cNvSpPr/>
          <p:nvPr/>
        </p:nvSpPr>
        <p:spPr>
          <a:xfrm>
            <a:off x="2880164" y="1932835"/>
            <a:ext cx="452401" cy="185122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EEE9CD-219F-9F30-70BC-82D680A4081C}"/>
              </a:ext>
            </a:extLst>
          </p:cNvPr>
          <p:cNvSpPr/>
          <p:nvPr/>
        </p:nvSpPr>
        <p:spPr>
          <a:xfrm>
            <a:off x="6547492" y="970749"/>
            <a:ext cx="3739508" cy="231571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Callout: Bent Line 12">
            <a:extLst>
              <a:ext uri="{FF2B5EF4-FFF2-40B4-BE49-F238E27FC236}">
                <a16:creationId xmlns:a16="http://schemas.microsoft.com/office/drawing/2014/main" id="{FA89DAE9-8CA8-94B5-D811-23D532ACCEE1}"/>
              </a:ext>
            </a:extLst>
          </p:cNvPr>
          <p:cNvSpPr/>
          <p:nvPr/>
        </p:nvSpPr>
        <p:spPr>
          <a:xfrm flipH="1">
            <a:off x="326062" y="3396290"/>
            <a:ext cx="1284050" cy="1468911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56241"/>
              <a:gd name="adj6" fmla="val -43740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ingredient to see the analysis</a:t>
            </a:r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Callout: Bent Line 13">
            <a:extLst>
              <a:ext uri="{FF2B5EF4-FFF2-40B4-BE49-F238E27FC236}">
                <a16:creationId xmlns:a16="http://schemas.microsoft.com/office/drawing/2014/main" id="{F5EA1812-8DAE-230E-050E-8ED59E84B304}"/>
              </a:ext>
            </a:extLst>
          </p:cNvPr>
          <p:cNvSpPr/>
          <p:nvPr/>
        </p:nvSpPr>
        <p:spPr>
          <a:xfrm flipH="1">
            <a:off x="321949" y="5110575"/>
            <a:ext cx="1284050" cy="1215419"/>
          </a:xfrm>
          <a:prstGeom prst="borderCallout2">
            <a:avLst>
              <a:gd name="adj1" fmla="val 18750"/>
              <a:gd name="adj2" fmla="val -490"/>
              <a:gd name="adj3" fmla="val 18750"/>
              <a:gd name="adj4" fmla="val -16667"/>
              <a:gd name="adj5" fmla="val -19159"/>
              <a:gd name="adj6" fmla="val -27196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pare or analyze data based on various parameters</a:t>
            </a:r>
          </a:p>
          <a:p>
            <a:pPr algn="ctr"/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" name="Callout: Bent Line with Border and Accent Bar 14">
            <a:extLst>
              <a:ext uri="{FF2B5EF4-FFF2-40B4-BE49-F238E27FC236}">
                <a16:creationId xmlns:a16="http://schemas.microsoft.com/office/drawing/2014/main" id="{81B84597-5C10-20B6-A960-16CAEB5F111C}"/>
              </a:ext>
            </a:extLst>
          </p:cNvPr>
          <p:cNvSpPr/>
          <p:nvPr/>
        </p:nvSpPr>
        <p:spPr>
          <a:xfrm flipH="1">
            <a:off x="326062" y="2011300"/>
            <a:ext cx="1284051" cy="1062409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6904"/>
              <a:gd name="adj6" fmla="val -42879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elect desired country</a:t>
            </a:r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6" name="Callout: Bent Line 15">
            <a:extLst>
              <a:ext uri="{FF2B5EF4-FFF2-40B4-BE49-F238E27FC236}">
                <a16:creationId xmlns:a16="http://schemas.microsoft.com/office/drawing/2014/main" id="{64F0FF5C-5F99-E065-12D9-9B8C696BD819}"/>
              </a:ext>
            </a:extLst>
          </p:cNvPr>
          <p:cNvSpPr/>
          <p:nvPr/>
        </p:nvSpPr>
        <p:spPr>
          <a:xfrm flipH="1">
            <a:off x="326062" y="980478"/>
            <a:ext cx="1284050" cy="738760"/>
          </a:xfrm>
          <a:prstGeom prst="borderCallout2">
            <a:avLst>
              <a:gd name="adj1" fmla="val 18750"/>
              <a:gd name="adj2" fmla="val -490"/>
              <a:gd name="adj3" fmla="val 17500"/>
              <a:gd name="adj4" fmla="val -119529"/>
              <a:gd name="adj5" fmla="val 129649"/>
              <a:gd name="adj6" fmla="val -120256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lect desired year</a:t>
            </a:r>
            <a:endParaRPr lang="en-IN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" name="Callout: Bent Line 16">
            <a:extLst>
              <a:ext uri="{FF2B5EF4-FFF2-40B4-BE49-F238E27FC236}">
                <a16:creationId xmlns:a16="http://schemas.microsoft.com/office/drawing/2014/main" id="{9A5B737D-9C1C-ABF3-D01F-8D6CDE819C3B}"/>
              </a:ext>
            </a:extLst>
          </p:cNvPr>
          <p:cNvSpPr/>
          <p:nvPr/>
        </p:nvSpPr>
        <p:spPr>
          <a:xfrm>
            <a:off x="5506843" y="5739048"/>
            <a:ext cx="1904648" cy="102932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5475"/>
              <a:gd name="adj6" fmla="val -72651"/>
            </a:avLst>
          </a:prstGeom>
          <a:solidFill>
            <a:srgbClr val="F1CEC5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ere you can see comparison of  market size with ingredient size.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8" name="Callout: Bent Line 17" descr="for now we are just doing Thailands study so just have thailnd there">
            <a:extLst>
              <a:ext uri="{FF2B5EF4-FFF2-40B4-BE49-F238E27FC236}">
                <a16:creationId xmlns:a16="http://schemas.microsoft.com/office/drawing/2014/main" id="{0763F07E-0003-5149-A6C9-0394BC00D66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9131416" y="5831190"/>
            <a:ext cx="2311167" cy="937187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169"/>
              <a:gd name="adj6" fmla="val -48559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ere you can see comparison of Parameters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9" name="Callout: Bent Line 18" descr="for now we are just doing Thailands study so just have thailnd there">
            <a:extLst>
              <a:ext uri="{FF2B5EF4-FFF2-40B4-BE49-F238E27FC236}">
                <a16:creationId xmlns:a16="http://schemas.microsoft.com/office/drawing/2014/main" id="{E9D7C3C6-74F2-88C9-1A36-C133D54CAE7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0515601" y="26116"/>
            <a:ext cx="1627763" cy="140078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692"/>
              <a:gd name="adj6" fmla="val -124455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We can see the trend of three parameters using a line chart over the years </a:t>
            </a:r>
          </a:p>
          <a:p>
            <a:pPr algn="ctr"/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20" name="Callout: Bent Line 19">
            <a:extLst>
              <a:ext uri="{FF2B5EF4-FFF2-40B4-BE49-F238E27FC236}">
                <a16:creationId xmlns:a16="http://schemas.microsoft.com/office/drawing/2014/main" id="{314C8BC7-7D3A-879A-D22F-B6FFEEB3ED16}"/>
              </a:ext>
            </a:extLst>
          </p:cNvPr>
          <p:cNvSpPr/>
          <p:nvPr/>
        </p:nvSpPr>
        <p:spPr>
          <a:xfrm>
            <a:off x="5226995" y="35608"/>
            <a:ext cx="1738007" cy="82068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1315"/>
              <a:gd name="adj6" fmla="val -52264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ere you can view the all the selected data in numbers</a:t>
            </a:r>
            <a:endParaRPr lang="en-IN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98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3491296a55243fcfa3adfdb98577c8d92664385b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o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9c6ORnWM5tMu1MQHp0FRLgFAAAAAAADAAAAAAADAAAAAwADAAAAAAADAAAAAwADAAAAAAD///////8DAAIA////////BAAAAAMAEAALu9AHXIhPNUmMdon/CC3CZA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KgLAAAAAAAAAAAAACAB////////////////AAAA////////////////BAAAAAMA////////BAAAAAMA////////BAAAAAMA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CgEDAAAAAgD///////8aAAZMaW5rZWRTaGFwZXNEYXRhUHJvcGVydHlfMAUAAAAAAAQAAAADAAQAAAABAAQAAAADAP///////wQAAAADAP///////wQAAAAAAP///////wQAAAAAAP///////wQAAAAAAP///////wQAAAAAAP///////wQAAAAAAP///////wQAAAAAAP///////wQAAAAAAP///////wMAAwEDAAAAAwD///////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c6ORnWM5tMu1MQHp0FRLgDRGF0YQAbAAAABExpbmtlZFNoYXBlRGF0YQAFAAAAAAACTmFtZQAZAAAATGlua2VkU2hhcGVzRGF0YVByb3BlcnR5ABBWZXJzaW9uAAAAAAAJTGFzdFdyaXRlAOfgpHh7AQAAAAEA/////50AnQAAAAVfaWQAEAAAAAS70AdciE81SYx2if8ILcJkA0RhdGEAKgAAAAhQcmVzZW50YXRpb25TY2FubmVkRm9yTGlua2VkU2hhcGVzAAEAAk5hbWUAJAAAAExpbmtlZFNoYXBlUHJlc2VudGF0aW9uU2V0dGluZ3NEYXRhABBWZXJzaW9uAAAAAAAJTGFzdFdyaXRlAPPgpHh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Caldic">
  <a:themeElements>
    <a:clrScheme name="CaldicPP">
      <a:dk1>
        <a:srgbClr val="4D4D4D"/>
      </a:dk1>
      <a:lt1>
        <a:sysClr val="window" lastClr="FFFFFF"/>
      </a:lt1>
      <a:dk2>
        <a:srgbClr val="FF5000"/>
      </a:dk2>
      <a:lt2>
        <a:srgbClr val="F5F3F1"/>
      </a:lt2>
      <a:accent1>
        <a:srgbClr val="153243"/>
      </a:accent1>
      <a:accent2>
        <a:srgbClr val="AA9D8F"/>
      </a:accent2>
      <a:accent3>
        <a:srgbClr val="FF5000"/>
      </a:accent3>
      <a:accent4>
        <a:srgbClr val="5B6F7B"/>
      </a:accent4>
      <a:accent5>
        <a:srgbClr val="F59E29"/>
      </a:accent5>
      <a:accent6>
        <a:srgbClr val="C4D1DE"/>
      </a:accent6>
      <a:hlink>
        <a:srgbClr val="FF5000"/>
      </a:hlink>
      <a:folHlink>
        <a:srgbClr val="FF5000"/>
      </a:folHlink>
    </a:clrScheme>
    <a:fontScheme name="CaldicPower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nell Caldic.potx" id="{0F4328BA-7942-4701-AD01-89DCFEA5FBB5}" vid="{D92A78BD-2206-4662-8836-EA038C1D4136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Relationship Id="rId4" Type="http://schemas.microsoft.com/office/2011/relationships/webextension" Target="webextension4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  <wetp:taskpane dockstate="right" visibility="0" width="438" row="1">
    <wetp:webextensionref xmlns:r="http://schemas.openxmlformats.org/officeDocument/2006/relationships" r:id="rId2"/>
  </wetp:taskpane>
  <wetp:taskpane dockstate="right" visibility="0" width="438" row="2">
    <wetp:webextensionref xmlns:r="http://schemas.openxmlformats.org/officeDocument/2006/relationships" r:id="rId3"/>
  </wetp:taskpane>
  <wetp:taskpane dockstate="right" visibility="0" width="438" row="3">
    <wetp:webextensionref xmlns:r="http://schemas.openxmlformats.org/officeDocument/2006/relationships" r:id="rId4"/>
  </wetp:taskpane>
</wetp:taskpanes>
</file>

<file path=ppt/webextensions/webextension1.xml><?xml version="1.0" encoding="utf-8"?>
<we:webextension xmlns:we="http://schemas.microsoft.com/office/webextensions/webextension/2010/11" id="{8B2EE082-CD7D-4859-9ADA-3B662B5C2EC7}">
  <we:reference id="wa200001937" version="1.0.0.0" store="en-US" storeType="OMEX"/>
  <we:alternateReferences>
    <we:reference id="WA200001937" version="1.0.0.0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520921C8-F893-4011-85FF-37B5D8D419B0}">
  <we:reference id="wa104380587" version="1.0.0.1" store="en-US" storeType="OMEX"/>
  <we:alternateReferences>
    <we:reference id="wa104380587" version="1.0.0.1" store="wa104380587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D61A116B-40CF-4DE0-B313-48091F2F34B9}">
  <we:reference id="wa200005566" version="3.0.0.2" store="en-US" storeType="OMEX"/>
  <we:alternateReferences>
    <we:reference id="wa200005566" version="3.0.0.2" store="wa200005566" storeType="OMEX"/>
  </we:alternateReferences>
  <we:properties/>
  <we:bindings/>
  <we:snapshot xmlns:r="http://schemas.openxmlformats.org/officeDocument/2006/relationships"/>
</we:webextension>
</file>

<file path=ppt/webextensions/webextension4.xml><?xml version="1.0" encoding="utf-8"?>
<we:webextension xmlns:we="http://schemas.microsoft.com/office/webextensions/webextension/2010/11" id="{C321E3F3-C616-4C86-8693-97EC61CF1453}">
  <we:reference id="wa200003732" version="2.0.1.0" store="en-US" storeType="OMEX"/>
  <we:alternateReferences>
    <we:reference id="wa200003732" version="2.0.1.0" store="WA200003732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9D3C5B1E4E8F49A550A0CDCD3B2B06" ma:contentTypeVersion="8" ma:contentTypeDescription="Create a new document." ma:contentTypeScope="" ma:versionID="e8c5b0c2622140fee86766096eb84366">
  <xsd:schema xmlns:xsd="http://www.w3.org/2001/XMLSchema" xmlns:xs="http://www.w3.org/2001/XMLSchema" xmlns:p="http://schemas.microsoft.com/office/2006/metadata/properties" xmlns:ns2="03057c10-ff2f-4219-87ac-56f46b8b6d10" xmlns:ns3="2638697c-dec1-4652-923c-9075aab4733e" targetNamespace="http://schemas.microsoft.com/office/2006/metadata/properties" ma:root="true" ma:fieldsID="564b080b00bfb43b8643f33075ed19e0" ns2:_="" ns3:_="">
    <xsd:import namespace="03057c10-ff2f-4219-87ac-56f46b8b6d10"/>
    <xsd:import namespace="2638697c-dec1-4652-923c-9075aab4733e"/>
    <xsd:element name="properties">
      <xsd:complexType>
        <xsd:sequence>
          <xsd:element name="documentManagement">
            <xsd:complexType>
              <xsd:all>
                <xsd:element ref="ns2:a255917fc7d94762869fd798d54fe123" minOccurs="0"/>
                <xsd:element ref="ns3:TaxCatchAll" minOccurs="0"/>
                <xsd:element ref="ns2:mc48682c573e4f9fb41e153b68ce0907" minOccurs="0"/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057c10-ff2f-4219-87ac-56f46b8b6d10" elementFormDefault="qualified">
    <xsd:import namespace="http://schemas.microsoft.com/office/2006/documentManagement/types"/>
    <xsd:import namespace="http://schemas.microsoft.com/office/infopath/2007/PartnerControls"/>
    <xsd:element name="a255917fc7d94762869fd798d54fe123" ma:index="9" ma:taxonomy="true" ma:internalName="a255917fc7d94762869fd798d54fe123" ma:taxonomyFieldName="Category" ma:displayName="Category" ma:default="1;#Presentation|f870ae75-8d7c-4ad5-81d6-87f967629770" ma:fieldId="{a255917f-c7d9-4762-869f-d798d54fe123}" ma:sspId="a64d3d66-4ec5-41da-8242-6d44fe705f5e" ma:termSetId="b718782f-751c-41ad-8a4a-0bb26e9a9016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mc48682c573e4f9fb41e153b68ce0907" ma:index="12" ma:taxonomy="true" ma:internalName="mc48682c573e4f9fb41e153b68ce0907" ma:taxonomyFieldName="Topic" ma:displayName="Topic" ma:default="" ma:fieldId="{6c48682c-573e-4f9f-b41e-153b68ce0907}" ma:sspId="a64d3d66-4ec5-41da-8242-6d44fe705f5e" ma:termSetId="87913bf8-38ca-433f-b06e-5e270b64c867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38697c-dec1-4652-923c-9075aab4733e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8e33553d-e40b-4591-a7e4-40e36b94b24a}" ma:internalName="TaxCatchAll" ma:showField="CatchAllData" ma:web="2638697c-dec1-4652-923c-9075aab473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638697c-dec1-4652-923c-9075aab4733e">
      <Value>60</Value>
    </TaxCatchAll>
    <a255917fc7d94762869fd798d54fe123 xmlns="03057c10-ff2f-4219-87ac-56f46b8b6d10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esentation</TermName>
          <TermId xmlns="http://schemas.microsoft.com/office/infopath/2007/PartnerControls">f870ae75-8d7c-4ad5-81d6-87f967629770</TermId>
        </TermInfo>
      </Terms>
    </a255917fc7d94762869fd798d54fe123>
    <mc48682c573e4f9fb41e153b68ce0907 xmlns="03057c10-ff2f-4219-87ac-56f46b8b6d10">
      <Terms xmlns="http://schemas.microsoft.com/office/infopath/2007/PartnerControls"/>
    </mc48682c573e4f9fb41e153b68ce0907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34157E-DA31-4ADA-89ED-AE0F0E9800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057c10-ff2f-4219-87ac-56f46b8b6d10"/>
    <ds:schemaRef ds:uri="2638697c-dec1-4652-923c-9075aab473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5FF4071-25DE-4D0A-B9E5-1E5802D2EE8F}">
  <ds:schemaRefs>
    <ds:schemaRef ds:uri="http://schemas.microsoft.com/office/2006/metadata/properties"/>
    <ds:schemaRef ds:uri="http://schemas.microsoft.com/office/infopath/2007/PartnerControls"/>
    <ds:schemaRef ds:uri="2638697c-dec1-4652-923c-9075aab4733e"/>
    <ds:schemaRef ds:uri="03057c10-ff2f-4219-87ac-56f46b8b6d10"/>
  </ds:schemaRefs>
</ds:datastoreItem>
</file>

<file path=customXml/itemProps3.xml><?xml version="1.0" encoding="utf-8"?>
<ds:datastoreItem xmlns:ds="http://schemas.openxmlformats.org/officeDocument/2006/customXml" ds:itemID="{A1611402-3481-4E39-A3FE-D4C290B4A19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ell Caldic</Template>
  <TotalTime>482</TotalTime>
  <Words>646</Words>
  <Application>Microsoft Office PowerPoint</Application>
  <PresentationFormat>Widescreen</PresentationFormat>
  <Paragraphs>152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Calibri Light</vt:lpstr>
      <vt:lpstr>Caldic</vt:lpstr>
      <vt:lpstr>Power BI – Dashboard Instructions</vt:lpstr>
      <vt:lpstr>Set 1- Master File Industry Plan</vt:lpstr>
      <vt:lpstr>Sheet 1 : Category Analysis</vt:lpstr>
      <vt:lpstr>Sheet 2 : Customer Data Analysis</vt:lpstr>
      <vt:lpstr>Sheet 3 : Market Size Analysis</vt:lpstr>
      <vt:lpstr>Set 2- Final Report of Ingredient Analysis</vt:lpstr>
      <vt:lpstr>Ingredients Analysis</vt:lpstr>
      <vt:lpstr>Sheet 2 : Customer Data Analysis</vt:lpstr>
      <vt:lpstr>Sheet 3: Market Size Analysis</vt:lpstr>
      <vt:lpstr>Market Overview: Size, Import Data, Price, and Ingredients</vt:lpstr>
      <vt:lpstr>Note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Wageveld, Lianne</dc:creator>
  <cp:keywords>Group</cp:keywords>
  <dc:description>Template by HQ Solutions</dc:description>
  <cp:lastModifiedBy>mahesh rathod</cp:lastModifiedBy>
  <cp:revision>62</cp:revision>
  <dcterms:created xsi:type="dcterms:W3CDTF">2023-05-24T13:23:35Z</dcterms:created>
  <dcterms:modified xsi:type="dcterms:W3CDTF">2024-08-12T12:44:04Z</dcterms:modified>
  <cp:category/>
  <cp:version>v00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Topic">
    <vt:lpwstr/>
  </property>
  <property fmtid="{D5CDD505-2E9C-101B-9397-08002B2CF9AE}" pid="4" name="Category">
    <vt:lpwstr>60;#Presentation|f870ae75-8d7c-4ad5-81d6-87f967629770</vt:lpwstr>
  </property>
  <property fmtid="{D5CDD505-2E9C-101B-9397-08002B2CF9AE}" pid="5" name="ContentTypeId">
    <vt:lpwstr>0x010100BC9D3C5B1E4E8F49A550A0CDCD3B2B06</vt:lpwstr>
  </property>
</Properties>
</file>